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2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8.xml" ContentType="application/vnd.openxmlformats-officedocument.presentationml.notesSl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notesSlides/notesSlide9.xml" ContentType="application/vnd.openxmlformats-officedocument.presentationml.notesSlide+xml"/>
  <Override PartName="/ppt/charts/chart6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0.xml" ContentType="application/vnd.openxmlformats-officedocument.presentationml.notesSlide+xml"/>
  <Override PartName="/ppt/charts/chart7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8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6.xml" ContentType="application/vnd.openxmlformats-officedocument.themeOverride+xml"/>
  <Override PartName="/ppt/charts/chart9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7.xml" ContentType="application/vnd.openxmlformats-officedocument.themeOverride+xml"/>
  <Override PartName="/ppt/charts/chart10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45" r:id="rId1"/>
    <p:sldMasterId id="2147484303" r:id="rId2"/>
    <p:sldMasterId id="2147484354" r:id="rId3"/>
    <p:sldMasterId id="2147484381" r:id="rId4"/>
  </p:sldMasterIdLst>
  <p:notesMasterIdLst>
    <p:notesMasterId r:id="rId27"/>
  </p:notesMasterIdLst>
  <p:handoutMasterIdLst>
    <p:handoutMasterId r:id="rId28"/>
  </p:handoutMasterIdLst>
  <p:sldIdLst>
    <p:sldId id="3750" r:id="rId5"/>
    <p:sldId id="3696" r:id="rId6"/>
    <p:sldId id="3719" r:id="rId7"/>
    <p:sldId id="3738" r:id="rId8"/>
    <p:sldId id="3739" r:id="rId9"/>
    <p:sldId id="3665" r:id="rId10"/>
    <p:sldId id="3746" r:id="rId11"/>
    <p:sldId id="3752" r:id="rId12"/>
    <p:sldId id="2302" r:id="rId13"/>
    <p:sldId id="3699" r:id="rId14"/>
    <p:sldId id="3720" r:id="rId15"/>
    <p:sldId id="2240" r:id="rId16"/>
    <p:sldId id="2303" r:id="rId17"/>
    <p:sldId id="2304" r:id="rId18"/>
    <p:sldId id="3744" r:id="rId19"/>
    <p:sldId id="3701" r:id="rId20"/>
    <p:sldId id="3703" r:id="rId21"/>
    <p:sldId id="2267" r:id="rId22"/>
    <p:sldId id="3704" r:id="rId23"/>
    <p:sldId id="3705" r:id="rId24"/>
    <p:sldId id="3737" r:id="rId25"/>
    <p:sldId id="3741" r:id="rId26"/>
  </p:sldIdLst>
  <p:sldSz cx="9144000" cy="5143500" type="screen16x9"/>
  <p:notesSz cx="6662738" cy="9926638"/>
  <p:custDataLst>
    <p:tags r:id="rId29"/>
  </p:custDataLst>
  <p:defaultTextStyle>
    <a:defPPr>
      <a:defRPr lang="en-GB"/>
    </a:defPPr>
    <a:lvl1pPr marL="0" algn="l" defTabSz="91418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88" algn="l" defTabSz="91418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183" algn="l" defTabSz="91418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274" algn="l" defTabSz="91418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367" algn="l" defTabSz="91418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455" algn="l" defTabSz="91418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545" algn="l" defTabSz="91418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636" algn="l" defTabSz="91418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726" algn="l" defTabSz="91418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09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 " initials=" " lastIdx="66" clrIdx="0"/>
  <p:cmAuthor id="1" name="Greg Brooks" initials="" lastIdx="9" clrIdx="1"/>
  <p:cmAuthor id="2" name="Eimear McGrath" initials="EM" lastIdx="1" clrIdx="2">
    <p:extLst>
      <p:ext uri="{19B8F6BF-5375-455C-9EA6-DF929625EA0E}">
        <p15:presenceInfo xmlns:p15="http://schemas.microsoft.com/office/powerpoint/2012/main" userId="S-1-5-21-1294160185-2340748300-3387365238-76692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83C92"/>
    <a:srgbClr val="00A8E2"/>
    <a:srgbClr val="201C65"/>
    <a:srgbClr val="3B1F58"/>
    <a:srgbClr val="DD2858"/>
    <a:srgbClr val="F9FCFA"/>
    <a:srgbClr val="F8F8F8"/>
    <a:srgbClr val="FFFFFF"/>
    <a:srgbClr val="B3A7A5"/>
    <a:srgbClr val="4847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8105" autoAdjust="0"/>
    <p:restoredTop sz="82846" autoAdjust="0"/>
  </p:normalViewPr>
  <p:slideViewPr>
    <p:cSldViewPr snapToObjects="1">
      <p:cViewPr varScale="1">
        <p:scale>
          <a:sx n="73" d="100"/>
          <a:sy n="73" d="100"/>
        </p:scale>
        <p:origin x="600" y="48"/>
      </p:cViewPr>
      <p:guideLst>
        <p:guide orient="horz" pos="162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howGuides="1">
      <p:cViewPr varScale="1">
        <p:scale>
          <a:sx n="79" d="100"/>
          <a:sy n="79" d="100"/>
        </p:scale>
        <p:origin x="-3912" y="-108"/>
      </p:cViewPr>
      <p:guideLst>
        <p:guide orient="horz" pos="3127"/>
        <p:guide pos="2099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commentAuthors" Target="commentAuthors.xml"/><Relationship Id="rId8" Type="http://schemas.openxmlformats.org/officeDocument/2006/relationships/slide" Target="slides/slide4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57966312223509342"/>
          <c:y val="3.1542813894462757E-2"/>
          <c:w val="0.42033687776490664"/>
          <c:h val="0.9369143722110744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enagers</c:v>
                </c:pt>
              </c:strCache>
            </c:strRef>
          </c:tx>
          <c:spPr>
            <a:solidFill>
              <a:srgbClr val="FFFFFF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2A22-4233-B6D3-69D438CBC4C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2A22-4233-B6D3-69D438CBC4CF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2A22-4233-B6D3-69D438CBC4CF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FD32-49B0-8F9F-C447AFC34639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FD32-49B0-8F9F-C447AFC34639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FD32-49B0-8F9F-C447AFC34639}"/>
              </c:ext>
            </c:extLst>
          </c:dPt>
          <c:dPt>
            <c:idx val="2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FD32-49B0-8F9F-C447AFC34639}"/>
              </c:ext>
            </c:extLst>
          </c:dPt>
          <c:dPt>
            <c:idx val="2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FD32-49B0-8F9F-C447AFC34639}"/>
              </c:ext>
            </c:extLst>
          </c:dPt>
          <c:dPt>
            <c:idx val="25"/>
            <c:invertIfNegative val="0"/>
            <c:bubble3D val="0"/>
            <c:spPr>
              <a:solidFill>
                <a:srgbClr val="00A8E2"/>
              </a:solidFill>
            </c:spPr>
            <c:extLst>
              <c:ext xmlns:c16="http://schemas.microsoft.com/office/drawing/2014/chart" uri="{C3380CC4-5D6E-409C-BE32-E72D297353CC}">
                <c16:uniqueId val="{0000000D-0418-40D4-A24C-34C0ADE6C920}"/>
              </c:ext>
            </c:extLst>
          </c:dPt>
          <c:dLbls>
            <c:dLbl>
              <c:idx val="4"/>
              <c:tx>
                <c:rich>
                  <a:bodyPr/>
                  <a:lstStyle/>
                  <a:p>
                    <a:fld id="{7CE5FBEC-3F9A-CD47-B0B4-F748C9B9528B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E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A-FD32-49B0-8F9F-C447AFC34639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45FB4EC3-41E0-DF4D-8F99-CBB306762B25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E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FD32-49B0-8F9F-C447AFC34639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fld id="{6DE0B38C-DD8B-6F45-A8C5-114372040158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E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FD32-49B0-8F9F-C447AFC34639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fld id="{E3A9DC54-87C3-5E4C-9BE2-210CDE0167EB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E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FD32-49B0-8F9F-C447AFC34639}"/>
                </c:ext>
              </c:extLst>
            </c:dLbl>
            <c:dLbl>
              <c:idx val="22"/>
              <c:tx>
                <c:rich>
                  <a:bodyPr/>
                  <a:lstStyle/>
                  <a:p>
                    <a:fld id="{878D9285-D310-1D4D-8487-D5017F6E698A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E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FD32-49B0-8F9F-C447AFC34639}"/>
                </c:ext>
              </c:extLst>
            </c:dLbl>
            <c:dLbl>
              <c:idx val="25"/>
              <c:tx>
                <c:rich>
                  <a:bodyPr/>
                  <a:lstStyle/>
                  <a:p>
                    <a:fld id="{045BF21E-FEBC-A948-972D-7209778DFDE8}" type="VALUE">
                      <a:rPr lang="en-US">
                        <a:solidFill>
                          <a:srgbClr val="00A8E2"/>
                        </a:solidFill>
                      </a:rPr>
                      <a:pPr/>
                      <a:t>[VALUE]</a:t>
                    </a:fld>
                    <a:endParaRPr lang="en-IE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D-0418-40D4-A24C-34C0ADE6C92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7</c:f>
              <c:strCache>
                <c:ptCount val="26"/>
                <c:pt idx="0">
                  <c:v>Podcast</c:v>
                </c:pt>
                <c:pt idx="1">
                  <c:v>Online players e.g. RTE Player, 4OD</c:v>
                </c:pt>
                <c:pt idx="2">
                  <c:v>Cinema</c:v>
                </c:pt>
                <c:pt idx="3">
                  <c:v>Printed news</c:v>
                </c:pt>
                <c:pt idx="4">
                  <c:v>Other social media</c:v>
                </c:pt>
                <c:pt idx="5">
                  <c:v>Online/offline magazine</c:v>
                </c:pt>
                <c:pt idx="6">
                  <c:v>Viber</c:v>
                </c:pt>
                <c:pt idx="7">
                  <c:v>Twitter</c:v>
                </c:pt>
                <c:pt idx="8">
                  <c:v>Read a news article online</c:v>
                </c:pt>
                <c:pt idx="9">
                  <c:v>Shopping/browsing online</c:v>
                </c:pt>
                <c:pt idx="10">
                  <c:v>Personal Email</c:v>
                </c:pt>
                <c:pt idx="11">
                  <c:v>Facebook Messenger</c:v>
                </c:pt>
                <c:pt idx="12">
                  <c:v>Radio</c:v>
                </c:pt>
                <c:pt idx="13">
                  <c:v>Searched for information online</c:v>
                </c:pt>
                <c:pt idx="14">
                  <c:v>Facebook</c:v>
                </c:pt>
                <c:pt idx="15">
                  <c:v>Subscription TV online e.g. Netflix, Hulu, Amazon Prime, NOW TV</c:v>
                </c:pt>
                <c:pt idx="16">
                  <c:v>WhatsApp</c:v>
                </c:pt>
                <c:pt idx="17">
                  <c:v>Mobile gaming</c:v>
                </c:pt>
                <c:pt idx="18">
                  <c:v>Console or computer gaming</c:v>
                </c:pt>
                <c:pt idx="19">
                  <c:v>Other online video content e.g. YouTube, Dailymotion</c:v>
                </c:pt>
                <c:pt idx="20">
                  <c:v>Instagram</c:v>
                </c:pt>
                <c:pt idx="21">
                  <c:v>Music streaming</c:v>
                </c:pt>
                <c:pt idx="22">
                  <c:v>Facebook, FB Messenger, Instagram</c:v>
                </c:pt>
                <c:pt idx="23">
                  <c:v>Snapchat</c:v>
                </c:pt>
                <c:pt idx="24">
                  <c:v>Time spent Outdoor</c:v>
                </c:pt>
                <c:pt idx="25">
                  <c:v>TV</c:v>
                </c:pt>
              </c:strCache>
            </c:strRef>
          </c:cat>
          <c:val>
            <c:numRef>
              <c:f>Sheet1!$B$2:$B$27</c:f>
              <c:numCache>
                <c:formatCode>0%</c:formatCode>
                <c:ptCount val="26"/>
                <c:pt idx="0">
                  <c:v>0.03</c:v>
                </c:pt>
                <c:pt idx="1">
                  <c:v>0.04</c:v>
                </c:pt>
                <c:pt idx="2">
                  <c:v>0.05</c:v>
                </c:pt>
                <c:pt idx="3">
                  <c:v>0.06</c:v>
                </c:pt>
                <c:pt idx="4">
                  <c:v>0.06</c:v>
                </c:pt>
                <c:pt idx="5">
                  <c:v>0.08</c:v>
                </c:pt>
                <c:pt idx="6">
                  <c:v>0.09</c:v>
                </c:pt>
                <c:pt idx="7">
                  <c:v>0.09</c:v>
                </c:pt>
                <c:pt idx="8">
                  <c:v>0.11</c:v>
                </c:pt>
                <c:pt idx="9">
                  <c:v>0.19</c:v>
                </c:pt>
                <c:pt idx="10">
                  <c:v>0.2</c:v>
                </c:pt>
                <c:pt idx="11">
                  <c:v>0.22</c:v>
                </c:pt>
                <c:pt idx="12">
                  <c:v>0.28000000000000003</c:v>
                </c:pt>
                <c:pt idx="13">
                  <c:v>0.33</c:v>
                </c:pt>
                <c:pt idx="14">
                  <c:v>0.34</c:v>
                </c:pt>
                <c:pt idx="15">
                  <c:v>0.36</c:v>
                </c:pt>
                <c:pt idx="16">
                  <c:v>0.38</c:v>
                </c:pt>
                <c:pt idx="17">
                  <c:v>0.4</c:v>
                </c:pt>
                <c:pt idx="18">
                  <c:v>0.4</c:v>
                </c:pt>
                <c:pt idx="19">
                  <c:v>0.41</c:v>
                </c:pt>
                <c:pt idx="20">
                  <c:v>0.44</c:v>
                </c:pt>
                <c:pt idx="21">
                  <c:v>0.56999999999999995</c:v>
                </c:pt>
                <c:pt idx="22">
                  <c:v>0.6</c:v>
                </c:pt>
                <c:pt idx="23">
                  <c:v>0.63</c:v>
                </c:pt>
                <c:pt idx="24">
                  <c:v>0.64</c:v>
                </c:pt>
                <c:pt idx="25">
                  <c:v>0.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A22-4233-B6D3-69D438CBC4C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1352364672"/>
        <c:axId val="1352367392"/>
      </c:barChart>
      <c:catAx>
        <c:axId val="1352364672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ln>
            <a:noFill/>
          </a:ln>
        </c:spPr>
        <c:crossAx val="1352367392"/>
        <c:crosses val="autoZero"/>
        <c:auto val="1"/>
        <c:lblAlgn val="ctr"/>
        <c:lblOffset val="100"/>
        <c:noMultiLvlLbl val="0"/>
      </c:catAx>
      <c:valAx>
        <c:axId val="1352367392"/>
        <c:scaling>
          <c:orientation val="minMax"/>
          <c:max val="1"/>
        </c:scaling>
        <c:delete val="1"/>
        <c:axPos val="b"/>
        <c:numFmt formatCode="0%" sourceLinked="1"/>
        <c:majorTickMark val="out"/>
        <c:minorTickMark val="none"/>
        <c:tickLblPos val="nextTo"/>
        <c:crossAx val="1352364672"/>
        <c:crosses val="autoZero"/>
        <c:crossBetween val="between"/>
        <c:majorUnit val="1"/>
      </c:valAx>
    </c:plotArea>
    <c:plotVisOnly val="1"/>
    <c:dispBlanksAs val="gap"/>
    <c:showDLblsOverMax val="0"/>
  </c:chart>
  <c:txPr>
    <a:bodyPr/>
    <a:lstStyle/>
    <a:p>
      <a:pPr>
        <a:defRPr sz="800">
          <a:solidFill>
            <a:schemeClr val="bg1"/>
          </a:solidFill>
          <a:latin typeface="Gotham Book" panose="02000504050000020004" pitchFamily="2" charset="0"/>
        </a:defRPr>
      </a:pPr>
      <a:endParaRPr lang="en-US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2.9288253060304165E-2"/>
          <c:y val="1.8245099203536772E-2"/>
          <c:w val="0.9647946823112844"/>
          <c:h val="0.75575441112603647"/>
        </c:manualLayout>
      </c:layout>
      <c:lineChart>
        <c:grouping val="standard"/>
        <c:varyColors val="0"/>
        <c:ser>
          <c:idx val="2"/>
          <c:order val="0"/>
          <c:tx>
            <c:strRef>
              <c:f>Sheet1!$B$1</c:f>
              <c:strCache>
                <c:ptCount val="1"/>
                <c:pt idx="0">
                  <c:v>Adults 18+ Radio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accent4">
                        <a:lumMod val="60000"/>
                        <a:lumOff val="40000"/>
                      </a:schemeClr>
                    </a:solidFill>
                    <a:latin typeface="Gotham Book" panose="02000504050000020004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0</c:f>
              <c:strCache>
                <c:ptCount val="19"/>
                <c:pt idx="0">
                  <c:v>6am-7am</c:v>
                </c:pt>
                <c:pt idx="1">
                  <c:v>7am-8am</c:v>
                </c:pt>
                <c:pt idx="2">
                  <c:v>8am-9am</c:v>
                </c:pt>
                <c:pt idx="3">
                  <c:v>9am-10am</c:v>
                </c:pt>
                <c:pt idx="4">
                  <c:v>10am-11am</c:v>
                </c:pt>
                <c:pt idx="5">
                  <c:v>11am-12pm</c:v>
                </c:pt>
                <c:pt idx="6">
                  <c:v>12pm-1pm</c:v>
                </c:pt>
                <c:pt idx="7">
                  <c:v>1pm-2pm</c:v>
                </c:pt>
                <c:pt idx="8">
                  <c:v>2pm-3pm</c:v>
                </c:pt>
                <c:pt idx="9">
                  <c:v>3pm-4pm</c:v>
                </c:pt>
                <c:pt idx="10">
                  <c:v>4pm-5pm</c:v>
                </c:pt>
                <c:pt idx="11">
                  <c:v>5pm-6pm</c:v>
                </c:pt>
                <c:pt idx="12">
                  <c:v>6pm-7pm</c:v>
                </c:pt>
                <c:pt idx="13">
                  <c:v>7pm-8pm</c:v>
                </c:pt>
                <c:pt idx="14">
                  <c:v>8pm-9pm</c:v>
                </c:pt>
                <c:pt idx="15">
                  <c:v>9pm-10pm</c:v>
                </c:pt>
                <c:pt idx="16">
                  <c:v>10pm-11pm</c:v>
                </c:pt>
                <c:pt idx="17">
                  <c:v>11pm-Midnight</c:v>
                </c:pt>
                <c:pt idx="18">
                  <c:v>Midnight-6am</c:v>
                </c:pt>
              </c:strCache>
            </c:strRef>
          </c:cat>
          <c:val>
            <c:numRef>
              <c:f>Sheet1!$B$2:$B$20</c:f>
              <c:numCache>
                <c:formatCode>0%</c:formatCode>
                <c:ptCount val="19"/>
                <c:pt idx="0">
                  <c:v>0.06</c:v>
                </c:pt>
                <c:pt idx="1">
                  <c:v>0.15</c:v>
                </c:pt>
                <c:pt idx="2">
                  <c:v>0.19</c:v>
                </c:pt>
                <c:pt idx="3">
                  <c:v>0.17</c:v>
                </c:pt>
                <c:pt idx="4">
                  <c:v>0.15</c:v>
                </c:pt>
                <c:pt idx="5">
                  <c:v>0.14000000000000001</c:v>
                </c:pt>
                <c:pt idx="6">
                  <c:v>0.17</c:v>
                </c:pt>
                <c:pt idx="7">
                  <c:v>0.17</c:v>
                </c:pt>
                <c:pt idx="8">
                  <c:v>0.14000000000000001</c:v>
                </c:pt>
                <c:pt idx="9">
                  <c:v>0.11</c:v>
                </c:pt>
                <c:pt idx="10">
                  <c:v>0.12</c:v>
                </c:pt>
                <c:pt idx="11">
                  <c:v>0.14000000000000001</c:v>
                </c:pt>
                <c:pt idx="12">
                  <c:v>0.11</c:v>
                </c:pt>
                <c:pt idx="13">
                  <c:v>0.08</c:v>
                </c:pt>
                <c:pt idx="14">
                  <c:v>0.05</c:v>
                </c:pt>
                <c:pt idx="15">
                  <c:v>0.03</c:v>
                </c:pt>
                <c:pt idx="16">
                  <c:v>0.04</c:v>
                </c:pt>
                <c:pt idx="17">
                  <c:v>0.03</c:v>
                </c:pt>
                <c:pt idx="18">
                  <c:v>0.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E55-496A-9E1A-E66AFBB82BD6}"/>
            </c:ext>
          </c:extLst>
        </c:ser>
        <c:ser>
          <c:idx val="0"/>
          <c:order val="1"/>
          <c:tx>
            <c:strRef>
              <c:f>Sheet1!$C$1</c:f>
              <c:strCache>
                <c:ptCount val="1"/>
                <c:pt idx="0">
                  <c:v>Teens Radio</c:v>
                </c:pt>
              </c:strCache>
            </c:strRef>
          </c:tx>
          <c:spPr>
            <a:ln w="28575" cap="rnd">
              <a:solidFill>
                <a:schemeClr val="bg1"/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chemeClr val="bg1"/>
              </a:solidFill>
              <a:ln w="9525"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lt1"/>
                    </a:solidFill>
                    <a:latin typeface="Gotham Book" panose="02000504050000020004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0</c:f>
              <c:strCache>
                <c:ptCount val="19"/>
                <c:pt idx="0">
                  <c:v>6am-7am</c:v>
                </c:pt>
                <c:pt idx="1">
                  <c:v>7am-8am</c:v>
                </c:pt>
                <c:pt idx="2">
                  <c:v>8am-9am</c:v>
                </c:pt>
                <c:pt idx="3">
                  <c:v>9am-10am</c:v>
                </c:pt>
                <c:pt idx="4">
                  <c:v>10am-11am</c:v>
                </c:pt>
                <c:pt idx="5">
                  <c:v>11am-12pm</c:v>
                </c:pt>
                <c:pt idx="6">
                  <c:v>12pm-1pm</c:v>
                </c:pt>
                <c:pt idx="7">
                  <c:v>1pm-2pm</c:v>
                </c:pt>
                <c:pt idx="8">
                  <c:v>2pm-3pm</c:v>
                </c:pt>
                <c:pt idx="9">
                  <c:v>3pm-4pm</c:v>
                </c:pt>
                <c:pt idx="10">
                  <c:v>4pm-5pm</c:v>
                </c:pt>
                <c:pt idx="11">
                  <c:v>5pm-6pm</c:v>
                </c:pt>
                <c:pt idx="12">
                  <c:v>6pm-7pm</c:v>
                </c:pt>
                <c:pt idx="13">
                  <c:v>7pm-8pm</c:v>
                </c:pt>
                <c:pt idx="14">
                  <c:v>8pm-9pm</c:v>
                </c:pt>
                <c:pt idx="15">
                  <c:v>9pm-10pm</c:v>
                </c:pt>
                <c:pt idx="16">
                  <c:v>10pm-11pm</c:v>
                </c:pt>
                <c:pt idx="17">
                  <c:v>11pm-Midnight</c:v>
                </c:pt>
                <c:pt idx="18">
                  <c:v>Midnight-6am</c:v>
                </c:pt>
              </c:strCache>
            </c:strRef>
          </c:cat>
          <c:val>
            <c:numRef>
              <c:f>Sheet1!$C$2:$C$20</c:f>
              <c:numCache>
                <c:formatCode>0\ %</c:formatCode>
                <c:ptCount val="19"/>
                <c:pt idx="0">
                  <c:v>0.02</c:v>
                </c:pt>
                <c:pt idx="1">
                  <c:v>7.6666666666666702E-2</c:v>
                </c:pt>
                <c:pt idx="2">
                  <c:v>8.6666666666666697E-2</c:v>
                </c:pt>
                <c:pt idx="3">
                  <c:v>0.03</c:v>
                </c:pt>
                <c:pt idx="4">
                  <c:v>0.03</c:v>
                </c:pt>
                <c:pt idx="5">
                  <c:v>0.03</c:v>
                </c:pt>
                <c:pt idx="6">
                  <c:v>1.6666666666666701E-2</c:v>
                </c:pt>
                <c:pt idx="7">
                  <c:v>6.6666666666666697E-3</c:v>
                </c:pt>
                <c:pt idx="8">
                  <c:v>0.03</c:v>
                </c:pt>
                <c:pt idx="9">
                  <c:v>4.6666666666666697E-2</c:v>
                </c:pt>
                <c:pt idx="10">
                  <c:v>5.3333333333333302E-2</c:v>
                </c:pt>
                <c:pt idx="11">
                  <c:v>3.3333333333333298E-2</c:v>
                </c:pt>
                <c:pt idx="12">
                  <c:v>3.3333333333333298E-2</c:v>
                </c:pt>
                <c:pt idx="13">
                  <c:v>1.3333333333333299E-2</c:v>
                </c:pt>
                <c:pt idx="14">
                  <c:v>6.6666666666666697E-3</c:v>
                </c:pt>
                <c:pt idx="15">
                  <c:v>0.01</c:v>
                </c:pt>
                <c:pt idx="16">
                  <c:v>3.3333333333333296E-3</c:v>
                </c:pt>
                <c:pt idx="17">
                  <c:v>0</c:v>
                </c:pt>
                <c:pt idx="18">
                  <c:v>3.3333333333333296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044-4E59-AC3F-E93829696720}"/>
            </c:ext>
          </c:extLst>
        </c:ser>
        <c:ser>
          <c:idx val="1"/>
          <c:order val="2"/>
          <c:tx>
            <c:strRef>
              <c:f>Sheet1!$D$1</c:f>
              <c:strCache>
                <c:ptCount val="1"/>
                <c:pt idx="0">
                  <c:v>Teens Music streaming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FFC000"/>
              </a:solidFill>
              <a:ln w="9525"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rgbClr val="FFC000"/>
                    </a:solidFill>
                    <a:latin typeface="Gotham Book" panose="02000504050000020004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0</c:f>
              <c:strCache>
                <c:ptCount val="19"/>
                <c:pt idx="0">
                  <c:v>6am-7am</c:v>
                </c:pt>
                <c:pt idx="1">
                  <c:v>7am-8am</c:v>
                </c:pt>
                <c:pt idx="2">
                  <c:v>8am-9am</c:v>
                </c:pt>
                <c:pt idx="3">
                  <c:v>9am-10am</c:v>
                </c:pt>
                <c:pt idx="4">
                  <c:v>10am-11am</c:v>
                </c:pt>
                <c:pt idx="5">
                  <c:v>11am-12pm</c:v>
                </c:pt>
                <c:pt idx="6">
                  <c:v>12pm-1pm</c:v>
                </c:pt>
                <c:pt idx="7">
                  <c:v>1pm-2pm</c:v>
                </c:pt>
                <c:pt idx="8">
                  <c:v>2pm-3pm</c:v>
                </c:pt>
                <c:pt idx="9">
                  <c:v>3pm-4pm</c:v>
                </c:pt>
                <c:pt idx="10">
                  <c:v>4pm-5pm</c:v>
                </c:pt>
                <c:pt idx="11">
                  <c:v>5pm-6pm</c:v>
                </c:pt>
                <c:pt idx="12">
                  <c:v>6pm-7pm</c:v>
                </c:pt>
                <c:pt idx="13">
                  <c:v>7pm-8pm</c:v>
                </c:pt>
                <c:pt idx="14">
                  <c:v>8pm-9pm</c:v>
                </c:pt>
                <c:pt idx="15">
                  <c:v>9pm-10pm</c:v>
                </c:pt>
                <c:pt idx="16">
                  <c:v>10pm-11pm</c:v>
                </c:pt>
                <c:pt idx="17">
                  <c:v>11pm-Midnight</c:v>
                </c:pt>
                <c:pt idx="18">
                  <c:v>Midnight-6am</c:v>
                </c:pt>
              </c:strCache>
            </c:strRef>
          </c:cat>
          <c:val>
            <c:numRef>
              <c:f>Sheet1!$D$2:$D$20</c:f>
              <c:numCache>
                <c:formatCode>0\ %</c:formatCode>
                <c:ptCount val="19"/>
                <c:pt idx="0">
                  <c:v>0.02</c:v>
                </c:pt>
                <c:pt idx="1">
                  <c:v>0.06</c:v>
                </c:pt>
                <c:pt idx="2">
                  <c:v>0.09</c:v>
                </c:pt>
                <c:pt idx="3">
                  <c:v>0.02</c:v>
                </c:pt>
                <c:pt idx="4">
                  <c:v>0.05</c:v>
                </c:pt>
                <c:pt idx="5">
                  <c:v>0.05</c:v>
                </c:pt>
                <c:pt idx="6">
                  <c:v>0.06</c:v>
                </c:pt>
                <c:pt idx="7">
                  <c:v>7.0000000000000007E-2</c:v>
                </c:pt>
                <c:pt idx="8">
                  <c:v>7.0000000000000007E-2</c:v>
                </c:pt>
                <c:pt idx="9">
                  <c:v>0.08</c:v>
                </c:pt>
                <c:pt idx="10">
                  <c:v>0.16</c:v>
                </c:pt>
                <c:pt idx="11">
                  <c:v>0.13</c:v>
                </c:pt>
                <c:pt idx="12">
                  <c:v>0.12</c:v>
                </c:pt>
                <c:pt idx="13">
                  <c:v>0.12</c:v>
                </c:pt>
                <c:pt idx="14">
                  <c:v>0.09</c:v>
                </c:pt>
                <c:pt idx="15">
                  <c:v>0.12</c:v>
                </c:pt>
                <c:pt idx="16">
                  <c:v>0.06</c:v>
                </c:pt>
                <c:pt idx="17">
                  <c:v>0.03</c:v>
                </c:pt>
                <c:pt idx="18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DB6-49F0-9371-AF6EF7A67E98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93475120"/>
        <c:axId val="293475512"/>
        <c:extLst/>
      </c:lineChart>
      <c:catAx>
        <c:axId val="29347512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lt1"/>
                </a:solidFill>
                <a:latin typeface="Gotham Book" panose="02000504050000020004" pitchFamily="2" charset="0"/>
                <a:ea typeface="+mn-ea"/>
                <a:cs typeface="+mn-cs"/>
              </a:defRPr>
            </a:pPr>
            <a:endParaRPr lang="en-US"/>
          </a:p>
        </c:txPr>
        <c:crossAx val="293475512"/>
        <c:crosses val="autoZero"/>
        <c:auto val="1"/>
        <c:lblAlgn val="ctr"/>
        <c:lblOffset val="100"/>
        <c:noMultiLvlLbl val="0"/>
      </c:catAx>
      <c:valAx>
        <c:axId val="293475512"/>
        <c:scaling>
          <c:orientation val="minMax"/>
          <c:max val="0.70000000000000007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293475120"/>
        <c:crosses val="autoZero"/>
        <c:crossBetween val="between"/>
        <c:majorUnit val="0.1"/>
      </c:valAx>
      <c:spPr>
        <a:noFill/>
        <a:ln w="25400">
          <a:noFill/>
        </a:ln>
        <a:effectLst/>
      </c:spPr>
    </c:plotArea>
    <c:legend>
      <c:legendPos val="r"/>
      <c:layout>
        <c:manualLayout>
          <c:xMode val="edge"/>
          <c:yMode val="edge"/>
          <c:x val="0.41835217356633064"/>
          <c:y val="0.42440782441797659"/>
          <c:w val="0.53974002478235206"/>
          <c:h val="8.405196357492847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lt1"/>
              </a:solidFill>
              <a:latin typeface="Gotham Book" panose="02000504050000020004" pitchFamily="2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lt1"/>
          </a:solidFill>
          <a:latin typeface="Gotham Book" panose="02000504050000020004" pitchFamily="2" charset="0"/>
          <a:ea typeface="+mn-ea"/>
          <a:cs typeface="+mn-cs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18+ adults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</c:spPr>
          <c:dPt>
            <c:idx val="0"/>
            <c:bubble3D val="0"/>
            <c:spPr>
              <a:solidFill>
                <a:srgbClr val="DD2858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0AD-4256-A407-397CD7013D3F}"/>
              </c:ext>
            </c:extLst>
          </c:dPt>
          <c:dPt>
            <c:idx val="1"/>
            <c:bubble3D val="0"/>
            <c:spPr>
              <a:solidFill>
                <a:srgbClr val="FFC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0AD-4256-A407-397CD7013D3F}"/>
              </c:ext>
            </c:extLst>
          </c:dPt>
          <c:dPt>
            <c:idx val="2"/>
            <c:bubble3D val="0"/>
            <c:spPr>
              <a:solidFill>
                <a:srgbClr val="683C9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0AD-4256-A407-397CD7013D3F}"/>
              </c:ext>
            </c:extLst>
          </c:dPt>
          <c:dPt>
            <c:idx val="3"/>
            <c:bubble3D val="0"/>
            <c:spPr>
              <a:solidFill>
                <a:srgbClr val="00B0F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60AD-4256-A407-397CD7013D3F}"/>
              </c:ext>
            </c:extLst>
          </c:dPt>
          <c:dLbls>
            <c:dLbl>
              <c:idx val="0"/>
              <c:layout>
                <c:manualLayout>
                  <c:x val="-4.0927280597109596E-3"/>
                  <c:y val="-2.3366789981199589E-2"/>
                </c:manualLayout>
              </c:layout>
              <c:tx>
                <c:rich>
                  <a:bodyPr/>
                  <a:lstStyle/>
                  <a:p>
                    <a:fld id="{92253A4F-36AF-3C42-8D85-9EB35CE8EBD2}" type="CATEGORYNAME">
                      <a:rPr lang="en-US" sz="800">
                        <a:solidFill>
                          <a:schemeClr val="bg1"/>
                        </a:solidFill>
                      </a:rPr>
                      <a:pPr/>
                      <a:t>[CATEGORY NAME]</a:t>
                    </a:fld>
                    <a:r>
                      <a:rPr lang="en-US" sz="800" baseline="0" dirty="0">
                        <a:solidFill>
                          <a:schemeClr val="bg1"/>
                        </a:solidFill>
                      </a:rPr>
                      <a:t>, </a:t>
                    </a:r>
                    <a:br>
                      <a:rPr lang="en-US" sz="800" baseline="0" dirty="0">
                        <a:solidFill>
                          <a:schemeClr val="bg1"/>
                        </a:solidFill>
                      </a:rPr>
                    </a:br>
                    <a:fld id="{8BD32EC1-44B7-3B42-8B10-487E7A299EF8}" type="VALUE">
                      <a:rPr lang="en-US" sz="800" baseline="0" smtClean="0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US" sz="800" baseline="0" dirty="0">
                      <a:solidFill>
                        <a:schemeClr val="bg1"/>
                      </a:solidFill>
                    </a:endParaRP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60AD-4256-A407-397CD7013D3F}"/>
                </c:ext>
              </c:extLst>
            </c:dLbl>
            <c:dLbl>
              <c:idx val="1"/>
              <c:layout>
                <c:manualLayout>
                  <c:x val="3.5600030696218733E-2"/>
                  <c:y val="6.922023773424707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114878172106906"/>
                      <c:h val="0.15195979137606888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60AD-4256-A407-397CD7013D3F}"/>
                </c:ext>
              </c:extLst>
            </c:dLbl>
            <c:dLbl>
              <c:idx val="2"/>
              <c:layout>
                <c:manualLayout>
                  <c:x val="-5.1018814173524026E-4"/>
                  <c:y val="-2.0556128327976226E-3"/>
                </c:manualLayout>
              </c:layout>
              <c:tx>
                <c:rich>
                  <a:bodyPr/>
                  <a:lstStyle/>
                  <a:p>
                    <a:fld id="{C596BBF8-0636-9446-A0B7-A0D0E3D81E6D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br>
                      <a:rPr lang="en-US" baseline="0" dirty="0"/>
                    </a:br>
                    <a:fld id="{6F19B7E9-1E77-5748-A243-4337E7867A39}" type="VALUE">
                      <a:rPr lang="en-US" baseline="0" smtClean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60AD-4256-A407-397CD7013D3F}"/>
                </c:ext>
              </c:extLst>
            </c:dLbl>
            <c:dLbl>
              <c:idx val="3"/>
              <c:layout>
                <c:manualLayout>
                  <c:x val="7.5257300740743435E-3"/>
                  <c:y val="-4.4936017951361694E-3"/>
                </c:manualLayout>
              </c:layout>
              <c:tx>
                <c:rich>
                  <a:bodyPr/>
                  <a:lstStyle/>
                  <a:p>
                    <a:fld id="{707D5231-7C8C-954D-BF84-4B7273A4BE95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br>
                      <a:rPr lang="en-US" baseline="0" dirty="0"/>
                    </a:br>
                    <a:fld id="{B0D5F940-B4A5-0F45-B723-9B908C5723CD}" type="VALUE">
                      <a:rPr lang="en-US" baseline="0" smtClean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890987171589133"/>
                      <c:h val="0.19701619261325731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60AD-4256-A407-397CD7013D3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Gotham Book" panose="02000504050000020004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TV</c:v>
                </c:pt>
                <c:pt idx="1">
                  <c:v>Subscription TV</c:v>
                </c:pt>
                <c:pt idx="2">
                  <c:v>Other online video</c:v>
                </c:pt>
                <c:pt idx="3">
                  <c:v>Online Players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57999999999999996</c:v>
                </c:pt>
                <c:pt idx="1">
                  <c:v>0.23</c:v>
                </c:pt>
                <c:pt idx="2">
                  <c:v>0.12</c:v>
                </c:pt>
                <c:pt idx="3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60AD-4256-A407-397CD7013D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43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lnSpc>
          <a:spcPct val="100000"/>
        </a:lnSpc>
        <a:defRPr sz="900" b="1">
          <a:solidFill>
            <a:schemeClr val="bg1"/>
          </a:solidFill>
          <a:latin typeface="Gotham Book" panose="02000504050000020004" pitchFamily="2" charset="0"/>
        </a:defRPr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Teens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</c:spPr>
          <c:dPt>
            <c:idx val="0"/>
            <c:bubble3D val="0"/>
            <c:spPr>
              <a:solidFill>
                <a:srgbClr val="DD2858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542-4BB4-AAB7-C587CC872BAB}"/>
              </c:ext>
            </c:extLst>
          </c:dPt>
          <c:dPt>
            <c:idx val="1"/>
            <c:bubble3D val="0"/>
            <c:spPr>
              <a:solidFill>
                <a:srgbClr val="FFC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542-4BB4-AAB7-C587CC872BAB}"/>
              </c:ext>
            </c:extLst>
          </c:dPt>
          <c:dPt>
            <c:idx val="2"/>
            <c:bubble3D val="0"/>
            <c:spPr>
              <a:solidFill>
                <a:srgbClr val="683C9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542-4BB4-AAB7-C587CC872BAB}"/>
              </c:ext>
            </c:extLst>
          </c:dPt>
          <c:dPt>
            <c:idx val="3"/>
            <c:bubble3D val="0"/>
            <c:spPr>
              <a:solidFill>
                <a:srgbClr val="00B0F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F542-4BB4-AAB7-C587CC872BAB}"/>
              </c:ext>
            </c:extLst>
          </c:dPt>
          <c:dLbls>
            <c:dLbl>
              <c:idx val="0"/>
              <c:layout>
                <c:manualLayout>
                  <c:x val="-6.6154447902730864E-3"/>
                  <c:y val="1.7045289742154508E-3"/>
                </c:manualLayout>
              </c:layout>
              <c:tx>
                <c:rich>
                  <a:bodyPr/>
                  <a:lstStyle/>
                  <a:p>
                    <a:fld id="{6CA278AF-ED86-D44F-A4B7-4015B80A2D24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br>
                      <a:rPr lang="en-US" baseline="0" dirty="0"/>
                    </a:br>
                    <a:fld id="{C08B48F8-B1A1-0B41-B10A-357429AD9449}" type="VALUE">
                      <a:rPr lang="en-US" baseline="0" smtClean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F542-4BB4-AAB7-C587CC872BAB}"/>
                </c:ext>
              </c:extLst>
            </c:dLbl>
            <c:dLbl>
              <c:idx val="1"/>
              <c:layout>
                <c:manualLayout>
                  <c:x val="-4.9314088879706232E-3"/>
                  <c:y val="2.5164636392866157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95921268259004"/>
                      <c:h val="0.1519598704834131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F542-4BB4-AAB7-C587CC872BAB}"/>
                </c:ext>
              </c:extLst>
            </c:dLbl>
            <c:dLbl>
              <c:idx val="2"/>
              <c:layout>
                <c:manualLayout>
                  <c:x val="-1.2056571748187778E-2"/>
                  <c:y val="1.6255047399112189E-2"/>
                </c:manualLayout>
              </c:layout>
              <c:tx>
                <c:rich>
                  <a:bodyPr/>
                  <a:lstStyle/>
                  <a:p>
                    <a:fld id="{CF225DBB-1573-2045-8C1A-64AFAB090F8E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br>
                      <a:rPr lang="en-US" baseline="0" dirty="0"/>
                    </a:br>
                    <a:fld id="{40862091-C74B-1346-A4D5-DFD13B13FFF3}" type="VALUE">
                      <a:rPr lang="en-US" baseline="0" smtClean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F542-4BB4-AAB7-C587CC872BAB}"/>
                </c:ext>
              </c:extLst>
            </c:dLbl>
            <c:dLbl>
              <c:idx val="3"/>
              <c:layout>
                <c:manualLayout>
                  <c:x val="-2.6711041884910198E-4"/>
                  <c:y val="-2.796812987498681E-2"/>
                </c:manualLayout>
              </c:layout>
              <c:tx>
                <c:rich>
                  <a:bodyPr/>
                  <a:lstStyle/>
                  <a:p>
                    <a:fld id="{0C5D379C-EDFE-B54F-BFAB-9323F1E7154F}" type="CATEGORYNAME">
                      <a:rPr lang="en-US"/>
                      <a:pPr/>
                      <a:t>[CATEGORY NAME]</a:t>
                    </a:fld>
                    <a:r>
                      <a:rPr lang="en-US" baseline="0" dirty="0"/>
                      <a:t>, </a:t>
                    </a:r>
                    <a:br>
                      <a:rPr lang="en-US" baseline="0" dirty="0"/>
                    </a:br>
                    <a:fld id="{5F044670-FD78-774C-AB3A-F1DFDA48087F}" type="VALUE">
                      <a:rPr lang="en-US" baseline="0" smtClean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8165444502894806"/>
                      <c:h val="0.1970159634507515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F542-4BB4-AAB7-C587CC872BA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Gotham Book" panose="02000504050000020004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TV</c:v>
                </c:pt>
                <c:pt idx="1">
                  <c:v>Subscription TV</c:v>
                </c:pt>
                <c:pt idx="2">
                  <c:v>Other online video</c:v>
                </c:pt>
                <c:pt idx="3">
                  <c:v>Online Players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36</c:v>
                </c:pt>
                <c:pt idx="1">
                  <c:v>0.28000000000000003</c:v>
                </c:pt>
                <c:pt idx="2">
                  <c:v>0.28999999999999998</c:v>
                </c:pt>
                <c:pt idx="3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542-4BB4-AAB7-C587CC872B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44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 b="1">
          <a:solidFill>
            <a:schemeClr val="bg1"/>
          </a:solidFill>
          <a:latin typeface="Gotham Book" panose="02000504050000020004" pitchFamily="2" charset="0"/>
        </a:defRPr>
      </a:pPr>
      <a:endParaRPr lang="en-U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9427015543517282"/>
          <c:y val="2.8549105960893471E-2"/>
          <c:w val="0.70572984456482712"/>
          <c:h val="0.93760104058526594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FFFFFF"/>
            </a:solidFill>
            <a:ln w="12533">
              <a:noFill/>
              <a:prstDash val="solid"/>
            </a:ln>
          </c:spPr>
          <c:invertIfNegative val="0"/>
          <c:dLbls>
            <c:spPr>
              <a:noFill/>
              <a:ln w="25067">
                <a:noFill/>
              </a:ln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Mobile gaming</c:v>
                </c:pt>
                <c:pt idx="1">
                  <c:v>WhatsApp</c:v>
                </c:pt>
                <c:pt idx="2">
                  <c:v>Facebook</c:v>
                </c:pt>
                <c:pt idx="3">
                  <c:v>Instagram</c:v>
                </c:pt>
                <c:pt idx="4">
                  <c:v>Snapchat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15</c:v>
                </c:pt>
                <c:pt idx="1">
                  <c:v>0.18</c:v>
                </c:pt>
                <c:pt idx="2">
                  <c:v>0.21</c:v>
                </c:pt>
                <c:pt idx="3">
                  <c:v>0.27</c:v>
                </c:pt>
                <c:pt idx="4">
                  <c:v>0.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A3-4837-A901-5FE5A73D96B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201993216"/>
        <c:axId val="202008448"/>
      </c:barChart>
      <c:catAx>
        <c:axId val="20199321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202008448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202008448"/>
        <c:scaling>
          <c:orientation val="minMax"/>
          <c:max val="0.8"/>
          <c:min val="0"/>
        </c:scaling>
        <c:delete val="1"/>
        <c:axPos val="b"/>
        <c:numFmt formatCode="0%" sourceLinked="1"/>
        <c:majorTickMark val="out"/>
        <c:minorTickMark val="none"/>
        <c:tickLblPos val="nextTo"/>
        <c:crossAx val="201993216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  <a:latin typeface="Gotham Book" panose="02000504050000020004" pitchFamily="2" charset="0"/>
          <a:ea typeface="+mn-ea"/>
          <a:cs typeface="+mn-cs"/>
        </a:defRPr>
      </a:pPr>
      <a:endParaRPr lang="en-US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57966312223509342"/>
          <c:y val="3.1542813894462757E-2"/>
          <c:w val="0.42033687776490664"/>
          <c:h val="0.9369143722110744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enagers</c:v>
                </c:pt>
              </c:strCache>
            </c:strRef>
          </c:tx>
          <c:spPr>
            <a:solidFill>
              <a:srgbClr val="FFFFFF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2A22-4233-B6D3-69D438CBC4C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2A22-4233-B6D3-69D438CBC4CF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2A22-4233-B6D3-69D438CBC4CF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FD32-49B0-8F9F-C447AFC34639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FD32-49B0-8F9F-C447AFC34639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FD32-49B0-8F9F-C447AFC34639}"/>
              </c:ext>
            </c:extLst>
          </c:dPt>
          <c:dPt>
            <c:idx val="2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FD32-49B0-8F9F-C447AFC34639}"/>
              </c:ext>
            </c:extLst>
          </c:dPt>
          <c:dPt>
            <c:idx val="2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FD32-49B0-8F9F-C447AFC34639}"/>
              </c:ext>
            </c:extLst>
          </c:dPt>
          <c:dPt>
            <c:idx val="23"/>
            <c:invertIfNegative val="0"/>
            <c:bubble3D val="0"/>
            <c:spPr>
              <a:solidFill>
                <a:srgbClr val="FFC000"/>
              </a:solidFill>
            </c:spPr>
            <c:extLst>
              <c:ext xmlns:c16="http://schemas.microsoft.com/office/drawing/2014/chart" uri="{C3380CC4-5D6E-409C-BE32-E72D297353CC}">
                <c16:uniqueId val="{0000000D-DBFD-4EF1-8927-89DBF7AEBB06}"/>
              </c:ext>
            </c:extLst>
          </c:dPt>
          <c:dLbls>
            <c:dLbl>
              <c:idx val="4"/>
              <c:layout>
                <c:manualLayout>
                  <c:x val="3.1123991487710862E-3"/>
                  <c:y val="0"/>
                </c:manualLayout>
              </c:layout>
              <c:tx>
                <c:rich>
                  <a:bodyPr/>
                  <a:lstStyle/>
                  <a:p>
                    <a:fld id="{7CE5FBEC-3F9A-CD47-B0B4-F748C9B9528B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E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A-FD32-49B0-8F9F-C447AFC34639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45FB4EC3-41E0-DF4D-8F99-CBB306762B25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E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FD32-49B0-8F9F-C447AFC34639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fld id="{6DE0B38C-DD8B-6F45-A8C5-114372040158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E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FD32-49B0-8F9F-C447AFC34639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fld id="{E3A9DC54-87C3-5E4C-9BE2-210CDE0167EB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E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FD32-49B0-8F9F-C447AFC34639}"/>
                </c:ext>
              </c:extLst>
            </c:dLbl>
            <c:dLbl>
              <c:idx val="22"/>
              <c:tx>
                <c:rich>
                  <a:bodyPr/>
                  <a:lstStyle/>
                  <a:p>
                    <a:fld id="{878D9285-D310-1D4D-8487-D5017F6E698A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IE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FD32-49B0-8F9F-C447AFC34639}"/>
                </c:ext>
              </c:extLst>
            </c:dLbl>
            <c:dLbl>
              <c:idx val="23"/>
              <c:tx>
                <c:rich>
                  <a:bodyPr/>
                  <a:lstStyle/>
                  <a:p>
                    <a:fld id="{D0FF4709-4EAB-5F45-B9AA-8205C0EC79A4}" type="VALUE">
                      <a:rPr lang="en-US">
                        <a:solidFill>
                          <a:srgbClr val="FFC000"/>
                        </a:solidFill>
                      </a:rPr>
                      <a:pPr/>
                      <a:t>[VALUE]</a:t>
                    </a:fld>
                    <a:endParaRPr lang="en-IE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D-DBFD-4EF1-8927-89DBF7AEBB0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7</c:f>
              <c:strCache>
                <c:ptCount val="26"/>
                <c:pt idx="0">
                  <c:v>Podcast</c:v>
                </c:pt>
                <c:pt idx="1">
                  <c:v>Online players e.g. RTE Player, 4OD</c:v>
                </c:pt>
                <c:pt idx="2">
                  <c:v>Cinema</c:v>
                </c:pt>
                <c:pt idx="3">
                  <c:v>Printed news</c:v>
                </c:pt>
                <c:pt idx="4">
                  <c:v>Other social media</c:v>
                </c:pt>
                <c:pt idx="5">
                  <c:v>Online/offline magazine</c:v>
                </c:pt>
                <c:pt idx="6">
                  <c:v>Viber</c:v>
                </c:pt>
                <c:pt idx="7">
                  <c:v>Twitter</c:v>
                </c:pt>
                <c:pt idx="8">
                  <c:v>Read a news article online</c:v>
                </c:pt>
                <c:pt idx="9">
                  <c:v>Shopping/browsing online</c:v>
                </c:pt>
                <c:pt idx="10">
                  <c:v>Personal Email</c:v>
                </c:pt>
                <c:pt idx="11">
                  <c:v>Facebook Messenger</c:v>
                </c:pt>
                <c:pt idx="12">
                  <c:v>Radio</c:v>
                </c:pt>
                <c:pt idx="13">
                  <c:v>Searched for information online</c:v>
                </c:pt>
                <c:pt idx="14">
                  <c:v>Facebook</c:v>
                </c:pt>
                <c:pt idx="15">
                  <c:v>Subscription TV online e.g. Netflix, Hulu, Amazon Prime, NOW TV</c:v>
                </c:pt>
                <c:pt idx="16">
                  <c:v>WhatsApp</c:v>
                </c:pt>
                <c:pt idx="17">
                  <c:v>Mobile gaming</c:v>
                </c:pt>
                <c:pt idx="18">
                  <c:v>Console or computer gaming</c:v>
                </c:pt>
                <c:pt idx="19">
                  <c:v>Other online video content e.g. YouTube, Dailymotion</c:v>
                </c:pt>
                <c:pt idx="20">
                  <c:v>Instagram</c:v>
                </c:pt>
                <c:pt idx="21">
                  <c:v>Music streaming</c:v>
                </c:pt>
                <c:pt idx="22">
                  <c:v>Facebook, FB Messenger, Instagram</c:v>
                </c:pt>
                <c:pt idx="23">
                  <c:v>Snapchat</c:v>
                </c:pt>
                <c:pt idx="24">
                  <c:v>Time spent Outdoor</c:v>
                </c:pt>
                <c:pt idx="25">
                  <c:v>TV</c:v>
                </c:pt>
              </c:strCache>
            </c:strRef>
          </c:cat>
          <c:val>
            <c:numRef>
              <c:f>Sheet1!$B$2:$B$27</c:f>
              <c:numCache>
                <c:formatCode>0%</c:formatCode>
                <c:ptCount val="26"/>
                <c:pt idx="0">
                  <c:v>0.03</c:v>
                </c:pt>
                <c:pt idx="1">
                  <c:v>0.04</c:v>
                </c:pt>
                <c:pt idx="2">
                  <c:v>0.05</c:v>
                </c:pt>
                <c:pt idx="3">
                  <c:v>0.06</c:v>
                </c:pt>
                <c:pt idx="4">
                  <c:v>0.06</c:v>
                </c:pt>
                <c:pt idx="5">
                  <c:v>0.08</c:v>
                </c:pt>
                <c:pt idx="6">
                  <c:v>0.09</c:v>
                </c:pt>
                <c:pt idx="7">
                  <c:v>0.09</c:v>
                </c:pt>
                <c:pt idx="8">
                  <c:v>0.11</c:v>
                </c:pt>
                <c:pt idx="9">
                  <c:v>0.19</c:v>
                </c:pt>
                <c:pt idx="10">
                  <c:v>0.2</c:v>
                </c:pt>
                <c:pt idx="11">
                  <c:v>0.22</c:v>
                </c:pt>
                <c:pt idx="12">
                  <c:v>0.28000000000000003</c:v>
                </c:pt>
                <c:pt idx="13">
                  <c:v>0.33</c:v>
                </c:pt>
                <c:pt idx="14">
                  <c:v>0.34</c:v>
                </c:pt>
                <c:pt idx="15">
                  <c:v>0.36</c:v>
                </c:pt>
                <c:pt idx="16">
                  <c:v>0.38</c:v>
                </c:pt>
                <c:pt idx="17">
                  <c:v>0.4</c:v>
                </c:pt>
                <c:pt idx="18">
                  <c:v>0.4</c:v>
                </c:pt>
                <c:pt idx="19">
                  <c:v>0.41</c:v>
                </c:pt>
                <c:pt idx="20">
                  <c:v>0.44</c:v>
                </c:pt>
                <c:pt idx="21">
                  <c:v>0.56999999999999995</c:v>
                </c:pt>
                <c:pt idx="22">
                  <c:v>0.6</c:v>
                </c:pt>
                <c:pt idx="23">
                  <c:v>0.63</c:v>
                </c:pt>
                <c:pt idx="24">
                  <c:v>0.64</c:v>
                </c:pt>
                <c:pt idx="25">
                  <c:v>0.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A22-4233-B6D3-69D438CBC4C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1352364672"/>
        <c:axId val="1352367392"/>
      </c:barChart>
      <c:catAx>
        <c:axId val="1352364672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ln>
            <a:noFill/>
          </a:ln>
        </c:spPr>
        <c:crossAx val="1352367392"/>
        <c:crosses val="autoZero"/>
        <c:auto val="1"/>
        <c:lblAlgn val="ctr"/>
        <c:lblOffset val="100"/>
        <c:noMultiLvlLbl val="0"/>
      </c:catAx>
      <c:valAx>
        <c:axId val="1352367392"/>
        <c:scaling>
          <c:orientation val="minMax"/>
          <c:max val="1"/>
        </c:scaling>
        <c:delete val="1"/>
        <c:axPos val="b"/>
        <c:numFmt formatCode="0%" sourceLinked="1"/>
        <c:majorTickMark val="out"/>
        <c:minorTickMark val="none"/>
        <c:tickLblPos val="nextTo"/>
        <c:crossAx val="1352364672"/>
        <c:crosses val="autoZero"/>
        <c:crossBetween val="between"/>
        <c:majorUnit val="1"/>
      </c:valAx>
    </c:plotArea>
    <c:plotVisOnly val="1"/>
    <c:dispBlanksAs val="gap"/>
    <c:showDLblsOverMax val="0"/>
  </c:chart>
  <c:txPr>
    <a:bodyPr/>
    <a:lstStyle/>
    <a:p>
      <a:pPr>
        <a:defRPr sz="800">
          <a:solidFill>
            <a:schemeClr val="bg1"/>
          </a:solidFill>
          <a:latin typeface="Gotham Book" panose="02000504050000020004" pitchFamily="2" charset="0"/>
        </a:defRPr>
      </a:pPr>
      <a:endParaRPr lang="en-US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9025335977864691E-2"/>
          <c:y val="0"/>
          <c:w val="0.95057135228702183"/>
          <c:h val="0.8177456403479535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acebook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3"/>
              <c:layout>
                <c:manualLayout>
                  <c:x val="-3.1291326053377609E-2"/>
                  <c:y val="-2.485349994031246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88E-4CC5-90CB-7BB20DDA20D1}"/>
                </c:ext>
              </c:extLst>
            </c:dLbl>
            <c:dLbl>
              <c:idx val="7"/>
              <c:layout>
                <c:manualLayout>
                  <c:x val="-2.073962416433988E-2"/>
                  <c:y val="-2.6134516160044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88E-4CC5-90CB-7BB20DDA20D1}"/>
                </c:ext>
              </c:extLst>
            </c:dLbl>
            <c:dLbl>
              <c:idx val="13"/>
              <c:layout>
                <c:manualLayout>
                  <c:x val="-2.1334995036393807E-2"/>
                  <c:y val="-2.130299994883925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EC2-4AFE-97C9-2F4688E39F80}"/>
                </c:ext>
              </c:extLst>
            </c:dLbl>
            <c:dLbl>
              <c:idx val="16"/>
              <c:layout>
                <c:manualLayout>
                  <c:x val="-2.1334995036393807E-2"/>
                  <c:y val="-1.420199996589283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EC2-4AFE-97C9-2F4688E39F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Gotham Book" panose="02000504050000020004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0</c:f>
              <c:strCache>
                <c:ptCount val="19"/>
                <c:pt idx="0">
                  <c:v>6am-7am</c:v>
                </c:pt>
                <c:pt idx="1">
                  <c:v>7am-8am</c:v>
                </c:pt>
                <c:pt idx="2">
                  <c:v>8am-9am</c:v>
                </c:pt>
                <c:pt idx="3">
                  <c:v>9am-10am</c:v>
                </c:pt>
                <c:pt idx="4">
                  <c:v>10am-11am</c:v>
                </c:pt>
                <c:pt idx="5">
                  <c:v>11am-12pm</c:v>
                </c:pt>
                <c:pt idx="6">
                  <c:v>12pm-1pm</c:v>
                </c:pt>
                <c:pt idx="7">
                  <c:v>1pm-2pm</c:v>
                </c:pt>
                <c:pt idx="8">
                  <c:v>2pm-3pm</c:v>
                </c:pt>
                <c:pt idx="9">
                  <c:v>3pm-4pm</c:v>
                </c:pt>
                <c:pt idx="10">
                  <c:v>4pm-5pm</c:v>
                </c:pt>
                <c:pt idx="11">
                  <c:v>5pm-6pm</c:v>
                </c:pt>
                <c:pt idx="12">
                  <c:v>6pm-7pm</c:v>
                </c:pt>
                <c:pt idx="13">
                  <c:v>7pm-8pm</c:v>
                </c:pt>
                <c:pt idx="14">
                  <c:v>8pm-9pm</c:v>
                </c:pt>
                <c:pt idx="15">
                  <c:v>9pm-10pm</c:v>
                </c:pt>
                <c:pt idx="16">
                  <c:v>10pm-11pm</c:v>
                </c:pt>
                <c:pt idx="17">
                  <c:v>11pm-Midnight</c:v>
                </c:pt>
                <c:pt idx="18">
                  <c:v>Midnight-6am</c:v>
                </c:pt>
              </c:strCache>
            </c:strRef>
          </c:cat>
          <c:val>
            <c:numRef>
              <c:f>Sheet1!$B$2:$B$20</c:f>
              <c:numCache>
                <c:formatCode>0%</c:formatCode>
                <c:ptCount val="19"/>
                <c:pt idx="0">
                  <c:v>0.02</c:v>
                </c:pt>
                <c:pt idx="1">
                  <c:v>7.0000000000000007E-2</c:v>
                </c:pt>
                <c:pt idx="2">
                  <c:v>0.1</c:v>
                </c:pt>
                <c:pt idx="3">
                  <c:v>0.09</c:v>
                </c:pt>
                <c:pt idx="4">
                  <c:v>0.08</c:v>
                </c:pt>
                <c:pt idx="5">
                  <c:v>0.06</c:v>
                </c:pt>
                <c:pt idx="6">
                  <c:v>0.09</c:v>
                </c:pt>
                <c:pt idx="7">
                  <c:v>0.12</c:v>
                </c:pt>
                <c:pt idx="8">
                  <c:v>0.1</c:v>
                </c:pt>
                <c:pt idx="9">
                  <c:v>7.0000000000000007E-2</c:v>
                </c:pt>
                <c:pt idx="10">
                  <c:v>0.06</c:v>
                </c:pt>
                <c:pt idx="11">
                  <c:v>0.1</c:v>
                </c:pt>
                <c:pt idx="12">
                  <c:v>0.15</c:v>
                </c:pt>
                <c:pt idx="13">
                  <c:v>0.19</c:v>
                </c:pt>
                <c:pt idx="14">
                  <c:v>0.14000000000000001</c:v>
                </c:pt>
                <c:pt idx="15">
                  <c:v>0.13</c:v>
                </c:pt>
                <c:pt idx="16">
                  <c:v>0.14000000000000001</c:v>
                </c:pt>
                <c:pt idx="17">
                  <c:v>0.11</c:v>
                </c:pt>
                <c:pt idx="18">
                  <c:v>0.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502-47E3-80D7-5FF3DD96EA6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napchat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1!$A$2:$A$20</c:f>
              <c:strCache>
                <c:ptCount val="19"/>
                <c:pt idx="0">
                  <c:v>6am-7am</c:v>
                </c:pt>
                <c:pt idx="1">
                  <c:v>7am-8am</c:v>
                </c:pt>
                <c:pt idx="2">
                  <c:v>8am-9am</c:v>
                </c:pt>
                <c:pt idx="3">
                  <c:v>9am-10am</c:v>
                </c:pt>
                <c:pt idx="4">
                  <c:v>10am-11am</c:v>
                </c:pt>
                <c:pt idx="5">
                  <c:v>11am-12pm</c:v>
                </c:pt>
                <c:pt idx="6">
                  <c:v>12pm-1pm</c:v>
                </c:pt>
                <c:pt idx="7">
                  <c:v>1pm-2pm</c:v>
                </c:pt>
                <c:pt idx="8">
                  <c:v>2pm-3pm</c:v>
                </c:pt>
                <c:pt idx="9">
                  <c:v>3pm-4pm</c:v>
                </c:pt>
                <c:pt idx="10">
                  <c:v>4pm-5pm</c:v>
                </c:pt>
                <c:pt idx="11">
                  <c:v>5pm-6pm</c:v>
                </c:pt>
                <c:pt idx="12">
                  <c:v>6pm-7pm</c:v>
                </c:pt>
                <c:pt idx="13">
                  <c:v>7pm-8pm</c:v>
                </c:pt>
                <c:pt idx="14">
                  <c:v>8pm-9pm</c:v>
                </c:pt>
                <c:pt idx="15">
                  <c:v>9pm-10pm</c:v>
                </c:pt>
                <c:pt idx="16">
                  <c:v>10pm-11pm</c:v>
                </c:pt>
                <c:pt idx="17">
                  <c:v>11pm-Midnight</c:v>
                </c:pt>
                <c:pt idx="18">
                  <c:v>Midnight-6am</c:v>
                </c:pt>
              </c:strCache>
            </c:strRef>
          </c:cat>
          <c:val>
            <c:numRef>
              <c:f>Sheet1!$C$2:$C$20</c:f>
              <c:numCache>
                <c:formatCode>0%</c:formatCode>
                <c:ptCount val="19"/>
                <c:pt idx="0">
                  <c:v>0.01</c:v>
                </c:pt>
                <c:pt idx="1">
                  <c:v>0.02</c:v>
                </c:pt>
                <c:pt idx="2">
                  <c:v>0.03</c:v>
                </c:pt>
                <c:pt idx="3">
                  <c:v>0.03</c:v>
                </c:pt>
                <c:pt idx="4">
                  <c:v>0.03</c:v>
                </c:pt>
                <c:pt idx="5">
                  <c:v>0.02</c:v>
                </c:pt>
                <c:pt idx="6">
                  <c:v>0.03</c:v>
                </c:pt>
                <c:pt idx="7">
                  <c:v>0.06</c:v>
                </c:pt>
                <c:pt idx="8">
                  <c:v>0.04</c:v>
                </c:pt>
                <c:pt idx="9">
                  <c:v>0.03</c:v>
                </c:pt>
                <c:pt idx="10">
                  <c:v>0.03</c:v>
                </c:pt>
                <c:pt idx="11">
                  <c:v>0.05</c:v>
                </c:pt>
                <c:pt idx="12">
                  <c:v>0.05</c:v>
                </c:pt>
                <c:pt idx="13">
                  <c:v>0.06</c:v>
                </c:pt>
                <c:pt idx="14">
                  <c:v>0.04</c:v>
                </c:pt>
                <c:pt idx="15">
                  <c:v>0.04</c:v>
                </c:pt>
                <c:pt idx="16">
                  <c:v>0.05</c:v>
                </c:pt>
                <c:pt idx="17">
                  <c:v>0.06</c:v>
                </c:pt>
                <c:pt idx="18">
                  <c:v>0.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7502-47E3-80D7-5FF3DD96EA6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Instagram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Sheet1!$A$2:$A$20</c:f>
              <c:strCache>
                <c:ptCount val="19"/>
                <c:pt idx="0">
                  <c:v>6am-7am</c:v>
                </c:pt>
                <c:pt idx="1">
                  <c:v>7am-8am</c:v>
                </c:pt>
                <c:pt idx="2">
                  <c:v>8am-9am</c:v>
                </c:pt>
                <c:pt idx="3">
                  <c:v>9am-10am</c:v>
                </c:pt>
                <c:pt idx="4">
                  <c:v>10am-11am</c:v>
                </c:pt>
                <c:pt idx="5">
                  <c:v>11am-12pm</c:v>
                </c:pt>
                <c:pt idx="6">
                  <c:v>12pm-1pm</c:v>
                </c:pt>
                <c:pt idx="7">
                  <c:v>1pm-2pm</c:v>
                </c:pt>
                <c:pt idx="8">
                  <c:v>2pm-3pm</c:v>
                </c:pt>
                <c:pt idx="9">
                  <c:v>3pm-4pm</c:v>
                </c:pt>
                <c:pt idx="10">
                  <c:v>4pm-5pm</c:v>
                </c:pt>
                <c:pt idx="11">
                  <c:v>5pm-6pm</c:v>
                </c:pt>
                <c:pt idx="12">
                  <c:v>6pm-7pm</c:v>
                </c:pt>
                <c:pt idx="13">
                  <c:v>7pm-8pm</c:v>
                </c:pt>
                <c:pt idx="14">
                  <c:v>8pm-9pm</c:v>
                </c:pt>
                <c:pt idx="15">
                  <c:v>9pm-10pm</c:v>
                </c:pt>
                <c:pt idx="16">
                  <c:v>10pm-11pm</c:v>
                </c:pt>
                <c:pt idx="17">
                  <c:v>11pm-Midnight</c:v>
                </c:pt>
                <c:pt idx="18">
                  <c:v>Midnight-6am</c:v>
                </c:pt>
              </c:strCache>
            </c:strRef>
          </c:cat>
          <c:val>
            <c:numRef>
              <c:f>Sheet1!$D$2:$D$20</c:f>
              <c:numCache>
                <c:formatCode>0%</c:formatCode>
                <c:ptCount val="19"/>
                <c:pt idx="0">
                  <c:v>0.01</c:v>
                </c:pt>
                <c:pt idx="1">
                  <c:v>0.02</c:v>
                </c:pt>
                <c:pt idx="2">
                  <c:v>0.04</c:v>
                </c:pt>
                <c:pt idx="3">
                  <c:v>0.03</c:v>
                </c:pt>
                <c:pt idx="4">
                  <c:v>0.03</c:v>
                </c:pt>
                <c:pt idx="5">
                  <c:v>0.03</c:v>
                </c:pt>
                <c:pt idx="6">
                  <c:v>0.03</c:v>
                </c:pt>
                <c:pt idx="7">
                  <c:v>0.05</c:v>
                </c:pt>
                <c:pt idx="8">
                  <c:v>0.05</c:v>
                </c:pt>
                <c:pt idx="9">
                  <c:v>0.03</c:v>
                </c:pt>
                <c:pt idx="10">
                  <c:v>0.03</c:v>
                </c:pt>
                <c:pt idx="11">
                  <c:v>0.04</c:v>
                </c:pt>
                <c:pt idx="12">
                  <c:v>7.0000000000000007E-2</c:v>
                </c:pt>
                <c:pt idx="13">
                  <c:v>7.0000000000000007E-2</c:v>
                </c:pt>
                <c:pt idx="14">
                  <c:v>0.05</c:v>
                </c:pt>
                <c:pt idx="15">
                  <c:v>0.05</c:v>
                </c:pt>
                <c:pt idx="16">
                  <c:v>0.05</c:v>
                </c:pt>
                <c:pt idx="17">
                  <c:v>0.06</c:v>
                </c:pt>
                <c:pt idx="18">
                  <c:v>0.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7502-47E3-80D7-5FF3DD96EA6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Twitter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Sheet1!$A$2:$A$20</c:f>
              <c:strCache>
                <c:ptCount val="19"/>
                <c:pt idx="0">
                  <c:v>6am-7am</c:v>
                </c:pt>
                <c:pt idx="1">
                  <c:v>7am-8am</c:v>
                </c:pt>
                <c:pt idx="2">
                  <c:v>8am-9am</c:v>
                </c:pt>
                <c:pt idx="3">
                  <c:v>9am-10am</c:v>
                </c:pt>
                <c:pt idx="4">
                  <c:v>10am-11am</c:v>
                </c:pt>
                <c:pt idx="5">
                  <c:v>11am-12pm</c:v>
                </c:pt>
                <c:pt idx="6">
                  <c:v>12pm-1pm</c:v>
                </c:pt>
                <c:pt idx="7">
                  <c:v>1pm-2pm</c:v>
                </c:pt>
                <c:pt idx="8">
                  <c:v>2pm-3pm</c:v>
                </c:pt>
                <c:pt idx="9">
                  <c:v>3pm-4pm</c:v>
                </c:pt>
                <c:pt idx="10">
                  <c:v>4pm-5pm</c:v>
                </c:pt>
                <c:pt idx="11">
                  <c:v>5pm-6pm</c:v>
                </c:pt>
                <c:pt idx="12">
                  <c:v>6pm-7pm</c:v>
                </c:pt>
                <c:pt idx="13">
                  <c:v>7pm-8pm</c:v>
                </c:pt>
                <c:pt idx="14">
                  <c:v>8pm-9pm</c:v>
                </c:pt>
                <c:pt idx="15">
                  <c:v>9pm-10pm</c:v>
                </c:pt>
                <c:pt idx="16">
                  <c:v>10pm-11pm</c:v>
                </c:pt>
                <c:pt idx="17">
                  <c:v>11pm-Midnight</c:v>
                </c:pt>
                <c:pt idx="18">
                  <c:v>Midnight-6am</c:v>
                </c:pt>
              </c:strCache>
            </c:strRef>
          </c:cat>
          <c:val>
            <c:numRef>
              <c:f>Sheet1!$E$2:$E$20</c:f>
              <c:numCache>
                <c:formatCode>0%</c:formatCode>
                <c:ptCount val="19"/>
                <c:pt idx="0">
                  <c:v>0</c:v>
                </c:pt>
                <c:pt idx="1">
                  <c:v>0.02</c:v>
                </c:pt>
                <c:pt idx="2">
                  <c:v>0.02</c:v>
                </c:pt>
                <c:pt idx="3">
                  <c:v>0.02</c:v>
                </c:pt>
                <c:pt idx="4">
                  <c:v>0.02</c:v>
                </c:pt>
                <c:pt idx="5">
                  <c:v>0.01</c:v>
                </c:pt>
                <c:pt idx="6">
                  <c:v>0.01</c:v>
                </c:pt>
                <c:pt idx="7">
                  <c:v>0.03</c:v>
                </c:pt>
                <c:pt idx="8">
                  <c:v>0.02</c:v>
                </c:pt>
                <c:pt idx="9">
                  <c:v>0.02</c:v>
                </c:pt>
                <c:pt idx="10">
                  <c:v>0.02</c:v>
                </c:pt>
                <c:pt idx="11">
                  <c:v>0.03</c:v>
                </c:pt>
                <c:pt idx="12">
                  <c:v>0.04</c:v>
                </c:pt>
                <c:pt idx="13">
                  <c:v>0.03</c:v>
                </c:pt>
                <c:pt idx="14">
                  <c:v>0.03</c:v>
                </c:pt>
                <c:pt idx="15">
                  <c:v>0.04</c:v>
                </c:pt>
                <c:pt idx="16">
                  <c:v>0.04</c:v>
                </c:pt>
                <c:pt idx="17">
                  <c:v>0.04</c:v>
                </c:pt>
                <c:pt idx="18">
                  <c:v>0.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7502-47E3-80D7-5FF3DD96EA66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Other Social Media</c:v>
                </c:pt>
              </c:strCache>
            </c:strRef>
          </c:tx>
          <c:spPr>
            <a:ln w="19050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Sheet1!$A$2:$A$20</c:f>
              <c:strCache>
                <c:ptCount val="19"/>
                <c:pt idx="0">
                  <c:v>6am-7am</c:v>
                </c:pt>
                <c:pt idx="1">
                  <c:v>7am-8am</c:v>
                </c:pt>
                <c:pt idx="2">
                  <c:v>8am-9am</c:v>
                </c:pt>
                <c:pt idx="3">
                  <c:v>9am-10am</c:v>
                </c:pt>
                <c:pt idx="4">
                  <c:v>10am-11am</c:v>
                </c:pt>
                <c:pt idx="5">
                  <c:v>11am-12pm</c:v>
                </c:pt>
                <c:pt idx="6">
                  <c:v>12pm-1pm</c:v>
                </c:pt>
                <c:pt idx="7">
                  <c:v>1pm-2pm</c:v>
                </c:pt>
                <c:pt idx="8">
                  <c:v>2pm-3pm</c:v>
                </c:pt>
                <c:pt idx="9">
                  <c:v>3pm-4pm</c:v>
                </c:pt>
                <c:pt idx="10">
                  <c:v>4pm-5pm</c:v>
                </c:pt>
                <c:pt idx="11">
                  <c:v>5pm-6pm</c:v>
                </c:pt>
                <c:pt idx="12">
                  <c:v>6pm-7pm</c:v>
                </c:pt>
                <c:pt idx="13">
                  <c:v>7pm-8pm</c:v>
                </c:pt>
                <c:pt idx="14">
                  <c:v>8pm-9pm</c:v>
                </c:pt>
                <c:pt idx="15">
                  <c:v>9pm-10pm</c:v>
                </c:pt>
                <c:pt idx="16">
                  <c:v>10pm-11pm</c:v>
                </c:pt>
                <c:pt idx="17">
                  <c:v>11pm-Midnight</c:v>
                </c:pt>
                <c:pt idx="18">
                  <c:v>Midnight-6am</c:v>
                </c:pt>
              </c:strCache>
            </c:strRef>
          </c:cat>
          <c:val>
            <c:numRef>
              <c:f>Sheet1!$F$2:$F$20</c:f>
              <c:numCache>
                <c:formatCode>0%</c:formatCode>
                <c:ptCount val="19"/>
                <c:pt idx="0">
                  <c:v>0</c:v>
                </c:pt>
                <c:pt idx="1">
                  <c:v>0.01</c:v>
                </c:pt>
                <c:pt idx="2">
                  <c:v>0.02</c:v>
                </c:pt>
                <c:pt idx="3">
                  <c:v>0.02</c:v>
                </c:pt>
                <c:pt idx="4">
                  <c:v>0.02</c:v>
                </c:pt>
                <c:pt idx="5">
                  <c:v>0.01</c:v>
                </c:pt>
                <c:pt idx="6">
                  <c:v>0.02</c:v>
                </c:pt>
                <c:pt idx="7">
                  <c:v>0.03</c:v>
                </c:pt>
                <c:pt idx="8">
                  <c:v>0.02</c:v>
                </c:pt>
                <c:pt idx="9">
                  <c:v>0.02</c:v>
                </c:pt>
                <c:pt idx="10">
                  <c:v>0.01</c:v>
                </c:pt>
                <c:pt idx="11">
                  <c:v>0.02</c:v>
                </c:pt>
                <c:pt idx="12">
                  <c:v>0.04</c:v>
                </c:pt>
                <c:pt idx="13">
                  <c:v>0.04</c:v>
                </c:pt>
                <c:pt idx="14">
                  <c:v>0.03</c:v>
                </c:pt>
                <c:pt idx="15">
                  <c:v>0.03</c:v>
                </c:pt>
                <c:pt idx="16">
                  <c:v>0.05</c:v>
                </c:pt>
                <c:pt idx="17">
                  <c:v>0.04</c:v>
                </c:pt>
                <c:pt idx="18">
                  <c:v>0.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7502-47E3-80D7-5FF3DD96EA66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LinkedIn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Sheet1!$A$2:$A$20</c:f>
              <c:strCache>
                <c:ptCount val="19"/>
                <c:pt idx="0">
                  <c:v>6am-7am</c:v>
                </c:pt>
                <c:pt idx="1">
                  <c:v>7am-8am</c:v>
                </c:pt>
                <c:pt idx="2">
                  <c:v>8am-9am</c:v>
                </c:pt>
                <c:pt idx="3">
                  <c:v>9am-10am</c:v>
                </c:pt>
                <c:pt idx="4">
                  <c:v>10am-11am</c:v>
                </c:pt>
                <c:pt idx="5">
                  <c:v>11am-12pm</c:v>
                </c:pt>
                <c:pt idx="6">
                  <c:v>12pm-1pm</c:v>
                </c:pt>
                <c:pt idx="7">
                  <c:v>1pm-2pm</c:v>
                </c:pt>
                <c:pt idx="8">
                  <c:v>2pm-3pm</c:v>
                </c:pt>
                <c:pt idx="9">
                  <c:v>3pm-4pm</c:v>
                </c:pt>
                <c:pt idx="10">
                  <c:v>4pm-5pm</c:v>
                </c:pt>
                <c:pt idx="11">
                  <c:v>5pm-6pm</c:v>
                </c:pt>
                <c:pt idx="12">
                  <c:v>6pm-7pm</c:v>
                </c:pt>
                <c:pt idx="13">
                  <c:v>7pm-8pm</c:v>
                </c:pt>
                <c:pt idx="14">
                  <c:v>8pm-9pm</c:v>
                </c:pt>
                <c:pt idx="15">
                  <c:v>9pm-10pm</c:v>
                </c:pt>
                <c:pt idx="16">
                  <c:v>10pm-11pm</c:v>
                </c:pt>
                <c:pt idx="17">
                  <c:v>11pm-Midnight</c:v>
                </c:pt>
                <c:pt idx="18">
                  <c:v>Midnight-6am</c:v>
                </c:pt>
              </c:strCache>
            </c:strRef>
          </c:cat>
          <c:val>
            <c:numRef>
              <c:f>Sheet1!$G$2:$G$20</c:f>
              <c:numCache>
                <c:formatCode>0%</c:formatCode>
                <c:ptCount val="19"/>
                <c:pt idx="0">
                  <c:v>0</c:v>
                </c:pt>
                <c:pt idx="1">
                  <c:v>0.01</c:v>
                </c:pt>
                <c:pt idx="2">
                  <c:v>0.01</c:v>
                </c:pt>
                <c:pt idx="3">
                  <c:v>0.01</c:v>
                </c:pt>
                <c:pt idx="4">
                  <c:v>0.01</c:v>
                </c:pt>
                <c:pt idx="5">
                  <c:v>0.01</c:v>
                </c:pt>
                <c:pt idx="6">
                  <c:v>0.01</c:v>
                </c:pt>
                <c:pt idx="7">
                  <c:v>0.02</c:v>
                </c:pt>
                <c:pt idx="8">
                  <c:v>0.02</c:v>
                </c:pt>
                <c:pt idx="9">
                  <c:v>0</c:v>
                </c:pt>
                <c:pt idx="10">
                  <c:v>0.01</c:v>
                </c:pt>
                <c:pt idx="11">
                  <c:v>0.01</c:v>
                </c:pt>
                <c:pt idx="12">
                  <c:v>0.01</c:v>
                </c:pt>
                <c:pt idx="13">
                  <c:v>0.02</c:v>
                </c:pt>
                <c:pt idx="14">
                  <c:v>0.01</c:v>
                </c:pt>
                <c:pt idx="15">
                  <c:v>0.01</c:v>
                </c:pt>
                <c:pt idx="16">
                  <c:v>0.01</c:v>
                </c:pt>
                <c:pt idx="17">
                  <c:v>0.01</c:v>
                </c:pt>
                <c:pt idx="18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F51-425E-BF9C-A84F28E009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89793192"/>
        <c:axId val="289793584"/>
      </c:lineChart>
      <c:catAx>
        <c:axId val="2897931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Gotham Book" panose="02000504050000020004" pitchFamily="2" charset="0"/>
                <a:ea typeface="+mn-ea"/>
                <a:cs typeface="+mn-cs"/>
              </a:defRPr>
            </a:pPr>
            <a:endParaRPr lang="en-US"/>
          </a:p>
        </c:txPr>
        <c:crossAx val="289793584"/>
        <c:crosses val="autoZero"/>
        <c:auto val="1"/>
        <c:lblAlgn val="ctr"/>
        <c:lblOffset val="100"/>
        <c:noMultiLvlLbl val="0"/>
      </c:catAx>
      <c:valAx>
        <c:axId val="289793584"/>
        <c:scaling>
          <c:orientation val="minMax"/>
          <c:max val="0.4"/>
        </c:scaling>
        <c:delete val="1"/>
        <c:axPos val="l"/>
        <c:numFmt formatCode="0%" sourceLinked="1"/>
        <c:majorTickMark val="out"/>
        <c:minorTickMark val="none"/>
        <c:tickLblPos val="nextTo"/>
        <c:crossAx val="289793192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74417620894397474"/>
          <c:y val="0.14356248277814171"/>
          <c:w val="0.25478500574168644"/>
          <c:h val="0.2465373119712599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Gotham Book" panose="02000504050000020004" pitchFamily="2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chemeClr val="tx1"/>
          </a:solidFill>
          <a:latin typeface="Gotham Book" panose="02000504050000020004" pitchFamily="2" charset="0"/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9025335977864691E-2"/>
          <c:y val="0"/>
          <c:w val="0.95057135228702183"/>
          <c:h val="0.8177456403479535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DULTS 18+ Facebook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3"/>
              <c:layout>
                <c:manualLayout>
                  <c:x val="-3.1291326053377609E-2"/>
                  <c:y val="-2.485349994031246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88E-4CC5-90CB-7BB20DDA20D1}"/>
                </c:ext>
              </c:extLst>
            </c:dLbl>
            <c:dLbl>
              <c:idx val="7"/>
              <c:layout>
                <c:manualLayout>
                  <c:x val="-2.3754380446812991E-2"/>
                  <c:y val="-2.6134516160044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88E-4CC5-90CB-7BB20DDA20D1}"/>
                </c:ext>
              </c:extLst>
            </c:dLbl>
            <c:dLbl>
              <c:idx val="13"/>
              <c:layout>
                <c:manualLayout>
                  <c:x val="-2.1334995036393807E-2"/>
                  <c:y val="-2.130299994883925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EC2-4AFE-97C9-2F4688E39F80}"/>
                </c:ext>
              </c:extLst>
            </c:dLbl>
            <c:dLbl>
              <c:idx val="16"/>
              <c:layout>
                <c:manualLayout>
                  <c:x val="-2.1334995036393807E-2"/>
                  <c:y val="-1.420199996589283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EC2-4AFE-97C9-2F4688E39F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Gotham Book" panose="02000504050000020004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0</c:f>
              <c:strCache>
                <c:ptCount val="19"/>
                <c:pt idx="0">
                  <c:v>6am-7am</c:v>
                </c:pt>
                <c:pt idx="1">
                  <c:v>7am-8am</c:v>
                </c:pt>
                <c:pt idx="2">
                  <c:v>8am-9am</c:v>
                </c:pt>
                <c:pt idx="3">
                  <c:v>9am-10am</c:v>
                </c:pt>
                <c:pt idx="4">
                  <c:v>10am-11am</c:v>
                </c:pt>
                <c:pt idx="5">
                  <c:v>11am-12pm</c:v>
                </c:pt>
                <c:pt idx="6">
                  <c:v>12pm-1pm</c:v>
                </c:pt>
                <c:pt idx="7">
                  <c:v>1pm-2pm</c:v>
                </c:pt>
                <c:pt idx="8">
                  <c:v>2pm-3pm</c:v>
                </c:pt>
                <c:pt idx="9">
                  <c:v>3pm-4pm</c:v>
                </c:pt>
                <c:pt idx="10">
                  <c:v>4pm-5pm</c:v>
                </c:pt>
                <c:pt idx="11">
                  <c:v>5pm-6pm</c:v>
                </c:pt>
                <c:pt idx="12">
                  <c:v>6pm-7pm</c:v>
                </c:pt>
                <c:pt idx="13">
                  <c:v>7pm-8pm</c:v>
                </c:pt>
                <c:pt idx="14">
                  <c:v>8pm-9pm</c:v>
                </c:pt>
                <c:pt idx="15">
                  <c:v>9pm-10pm</c:v>
                </c:pt>
                <c:pt idx="16">
                  <c:v>10pm-11pm</c:v>
                </c:pt>
                <c:pt idx="17">
                  <c:v>11pm-Midnight</c:v>
                </c:pt>
                <c:pt idx="18">
                  <c:v>Midnight-6am</c:v>
                </c:pt>
              </c:strCache>
            </c:strRef>
          </c:cat>
          <c:val>
            <c:numRef>
              <c:f>Sheet1!$B$2:$B$20</c:f>
              <c:numCache>
                <c:formatCode>0%</c:formatCode>
                <c:ptCount val="19"/>
                <c:pt idx="0">
                  <c:v>0.02</c:v>
                </c:pt>
                <c:pt idx="1">
                  <c:v>7.0000000000000007E-2</c:v>
                </c:pt>
                <c:pt idx="2">
                  <c:v>0.1</c:v>
                </c:pt>
                <c:pt idx="3">
                  <c:v>0.09</c:v>
                </c:pt>
                <c:pt idx="4">
                  <c:v>0.08</c:v>
                </c:pt>
                <c:pt idx="5">
                  <c:v>0.06</c:v>
                </c:pt>
                <c:pt idx="6">
                  <c:v>0.09</c:v>
                </c:pt>
                <c:pt idx="7">
                  <c:v>0.12</c:v>
                </c:pt>
                <c:pt idx="8">
                  <c:v>0.1</c:v>
                </c:pt>
                <c:pt idx="9">
                  <c:v>7.0000000000000007E-2</c:v>
                </c:pt>
                <c:pt idx="10">
                  <c:v>0.06</c:v>
                </c:pt>
                <c:pt idx="11">
                  <c:v>0.1</c:v>
                </c:pt>
                <c:pt idx="12">
                  <c:v>0.15</c:v>
                </c:pt>
                <c:pt idx="13">
                  <c:v>0.19</c:v>
                </c:pt>
                <c:pt idx="14">
                  <c:v>0.14000000000000001</c:v>
                </c:pt>
                <c:pt idx="15">
                  <c:v>0.13</c:v>
                </c:pt>
                <c:pt idx="16">
                  <c:v>0.14000000000000001</c:v>
                </c:pt>
                <c:pt idx="17">
                  <c:v>0.11</c:v>
                </c:pt>
                <c:pt idx="18">
                  <c:v>0.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7502-47E3-80D7-5FF3DD96EA6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eens Facebook</c:v>
                </c:pt>
              </c:strCache>
            </c:strRef>
          </c:tx>
          <c:spPr>
            <a:ln w="28575" cap="rnd">
              <a:solidFill>
                <a:schemeClr val="accent2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Sheet1!$A$2:$A$20</c:f>
              <c:strCache>
                <c:ptCount val="19"/>
                <c:pt idx="0">
                  <c:v>6am-7am</c:v>
                </c:pt>
                <c:pt idx="1">
                  <c:v>7am-8am</c:v>
                </c:pt>
                <c:pt idx="2">
                  <c:v>8am-9am</c:v>
                </c:pt>
                <c:pt idx="3">
                  <c:v>9am-10am</c:v>
                </c:pt>
                <c:pt idx="4">
                  <c:v>10am-11am</c:v>
                </c:pt>
                <c:pt idx="5">
                  <c:v>11am-12pm</c:v>
                </c:pt>
                <c:pt idx="6">
                  <c:v>12pm-1pm</c:v>
                </c:pt>
                <c:pt idx="7">
                  <c:v>1pm-2pm</c:v>
                </c:pt>
                <c:pt idx="8">
                  <c:v>2pm-3pm</c:v>
                </c:pt>
                <c:pt idx="9">
                  <c:v>3pm-4pm</c:v>
                </c:pt>
                <c:pt idx="10">
                  <c:v>4pm-5pm</c:v>
                </c:pt>
                <c:pt idx="11">
                  <c:v>5pm-6pm</c:v>
                </c:pt>
                <c:pt idx="12">
                  <c:v>6pm-7pm</c:v>
                </c:pt>
                <c:pt idx="13">
                  <c:v>7pm-8pm</c:v>
                </c:pt>
                <c:pt idx="14">
                  <c:v>8pm-9pm</c:v>
                </c:pt>
                <c:pt idx="15">
                  <c:v>9pm-10pm</c:v>
                </c:pt>
                <c:pt idx="16">
                  <c:v>10pm-11pm</c:v>
                </c:pt>
                <c:pt idx="17">
                  <c:v>11pm-Midnight</c:v>
                </c:pt>
                <c:pt idx="18">
                  <c:v>Midnight-6am</c:v>
                </c:pt>
              </c:strCache>
            </c:strRef>
          </c:cat>
          <c:val>
            <c:numRef>
              <c:f>Sheet1!$C$2:$C$20</c:f>
              <c:numCache>
                <c:formatCode>0%</c:formatCode>
                <c:ptCount val="19"/>
                <c:pt idx="0">
                  <c:v>0.02</c:v>
                </c:pt>
                <c:pt idx="1">
                  <c:v>0.04</c:v>
                </c:pt>
                <c:pt idx="2">
                  <c:v>0.05</c:v>
                </c:pt>
                <c:pt idx="3">
                  <c:v>0.03</c:v>
                </c:pt>
                <c:pt idx="4">
                  <c:v>0.04</c:v>
                </c:pt>
                <c:pt idx="5">
                  <c:v>0.03</c:v>
                </c:pt>
                <c:pt idx="6">
                  <c:v>0.05</c:v>
                </c:pt>
                <c:pt idx="7">
                  <c:v>0.05</c:v>
                </c:pt>
                <c:pt idx="8">
                  <c:v>0.04</c:v>
                </c:pt>
                <c:pt idx="9">
                  <c:v>0.05</c:v>
                </c:pt>
                <c:pt idx="10">
                  <c:v>0.06</c:v>
                </c:pt>
                <c:pt idx="11">
                  <c:v>0.05</c:v>
                </c:pt>
                <c:pt idx="12">
                  <c:v>0.05</c:v>
                </c:pt>
                <c:pt idx="13">
                  <c:v>7.0000000000000007E-2</c:v>
                </c:pt>
                <c:pt idx="14">
                  <c:v>0.08</c:v>
                </c:pt>
                <c:pt idx="15">
                  <c:v>7.0000000000000007E-2</c:v>
                </c:pt>
                <c:pt idx="16">
                  <c:v>0.05</c:v>
                </c:pt>
                <c:pt idx="17">
                  <c:v>0.02</c:v>
                </c:pt>
                <c:pt idx="18">
                  <c:v>0.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7502-47E3-80D7-5FF3DD96EA6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Teens Snapchat</c:v>
                </c:pt>
              </c:strCache>
            </c:strRef>
          </c:tx>
          <c:spPr>
            <a:ln w="28575" cap="rnd">
              <a:solidFill>
                <a:schemeClr val="accent3"/>
              </a:solidFill>
              <a:prstDash val="sysDash"/>
              <a:round/>
            </a:ln>
            <a:effectLst/>
          </c:spPr>
          <c:marker>
            <c:symbol val="none"/>
          </c:marker>
          <c:dLbls>
            <c:dLbl>
              <c:idx val="2"/>
              <c:layout>
                <c:manualLayout>
                  <c:x val="-2.86401846834951E-2"/>
                  <c:y val="-1.588610325145118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4F7-46FA-8EB2-A9FDB0F2C7C9}"/>
                </c:ext>
              </c:extLst>
            </c:dLbl>
            <c:dLbl>
              <c:idx val="11"/>
              <c:layout>
                <c:manualLayout>
                  <c:x val="-3.0147562824731685E-2"/>
                  <c:y val="-1.588610325145110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4F7-46FA-8EB2-A9FDB0F2C7C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Gotham Book" panose="02000504050000020004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0</c:f>
              <c:strCache>
                <c:ptCount val="19"/>
                <c:pt idx="0">
                  <c:v>6am-7am</c:v>
                </c:pt>
                <c:pt idx="1">
                  <c:v>7am-8am</c:v>
                </c:pt>
                <c:pt idx="2">
                  <c:v>8am-9am</c:v>
                </c:pt>
                <c:pt idx="3">
                  <c:v>9am-10am</c:v>
                </c:pt>
                <c:pt idx="4">
                  <c:v>10am-11am</c:v>
                </c:pt>
                <c:pt idx="5">
                  <c:v>11am-12pm</c:v>
                </c:pt>
                <c:pt idx="6">
                  <c:v>12pm-1pm</c:v>
                </c:pt>
                <c:pt idx="7">
                  <c:v>1pm-2pm</c:v>
                </c:pt>
                <c:pt idx="8">
                  <c:v>2pm-3pm</c:v>
                </c:pt>
                <c:pt idx="9">
                  <c:v>3pm-4pm</c:v>
                </c:pt>
                <c:pt idx="10">
                  <c:v>4pm-5pm</c:v>
                </c:pt>
                <c:pt idx="11">
                  <c:v>5pm-6pm</c:v>
                </c:pt>
                <c:pt idx="12">
                  <c:v>6pm-7pm</c:v>
                </c:pt>
                <c:pt idx="13">
                  <c:v>7pm-8pm</c:v>
                </c:pt>
                <c:pt idx="14">
                  <c:v>8pm-9pm</c:v>
                </c:pt>
                <c:pt idx="15">
                  <c:v>9pm-10pm</c:v>
                </c:pt>
                <c:pt idx="16">
                  <c:v>10pm-11pm</c:v>
                </c:pt>
                <c:pt idx="17">
                  <c:v>11pm-Midnight</c:v>
                </c:pt>
                <c:pt idx="18">
                  <c:v>Midnight-6am</c:v>
                </c:pt>
              </c:strCache>
            </c:strRef>
          </c:cat>
          <c:val>
            <c:numRef>
              <c:f>Sheet1!$D$2:$D$20</c:f>
              <c:numCache>
                <c:formatCode>0%</c:formatCode>
                <c:ptCount val="19"/>
                <c:pt idx="0">
                  <c:v>0.03</c:v>
                </c:pt>
                <c:pt idx="1">
                  <c:v>0.1</c:v>
                </c:pt>
                <c:pt idx="2">
                  <c:v>0.13</c:v>
                </c:pt>
                <c:pt idx="3">
                  <c:v>0.06</c:v>
                </c:pt>
                <c:pt idx="4">
                  <c:v>0.09</c:v>
                </c:pt>
                <c:pt idx="5">
                  <c:v>0.12</c:v>
                </c:pt>
                <c:pt idx="6">
                  <c:v>0.09</c:v>
                </c:pt>
                <c:pt idx="7">
                  <c:v>0.12</c:v>
                </c:pt>
                <c:pt idx="8">
                  <c:v>0.09</c:v>
                </c:pt>
                <c:pt idx="9">
                  <c:v>0.09</c:v>
                </c:pt>
                <c:pt idx="10">
                  <c:v>0.16</c:v>
                </c:pt>
                <c:pt idx="11">
                  <c:v>0.22</c:v>
                </c:pt>
                <c:pt idx="12">
                  <c:v>0.22</c:v>
                </c:pt>
                <c:pt idx="13">
                  <c:v>0.21</c:v>
                </c:pt>
                <c:pt idx="14">
                  <c:v>0.23</c:v>
                </c:pt>
                <c:pt idx="15">
                  <c:v>0.19</c:v>
                </c:pt>
                <c:pt idx="16">
                  <c:v>0.11</c:v>
                </c:pt>
                <c:pt idx="17">
                  <c:v>7.0000000000000007E-2</c:v>
                </c:pt>
                <c:pt idx="18">
                  <c:v>0.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7502-47E3-80D7-5FF3DD96EA6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Teens TV</c:v>
                </c:pt>
              </c:strCache>
            </c:strRef>
          </c:tx>
          <c:spPr>
            <a:ln w="19050" cap="rnd">
              <a:solidFill>
                <a:schemeClr val="accent4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Sheet1!$A$2:$A$20</c:f>
              <c:strCache>
                <c:ptCount val="19"/>
                <c:pt idx="0">
                  <c:v>6am-7am</c:v>
                </c:pt>
                <c:pt idx="1">
                  <c:v>7am-8am</c:v>
                </c:pt>
                <c:pt idx="2">
                  <c:v>8am-9am</c:v>
                </c:pt>
                <c:pt idx="3">
                  <c:v>9am-10am</c:v>
                </c:pt>
                <c:pt idx="4">
                  <c:v>10am-11am</c:v>
                </c:pt>
                <c:pt idx="5">
                  <c:v>11am-12pm</c:v>
                </c:pt>
                <c:pt idx="6">
                  <c:v>12pm-1pm</c:v>
                </c:pt>
                <c:pt idx="7">
                  <c:v>1pm-2pm</c:v>
                </c:pt>
                <c:pt idx="8">
                  <c:v>2pm-3pm</c:v>
                </c:pt>
                <c:pt idx="9">
                  <c:v>3pm-4pm</c:v>
                </c:pt>
                <c:pt idx="10">
                  <c:v>4pm-5pm</c:v>
                </c:pt>
                <c:pt idx="11">
                  <c:v>5pm-6pm</c:v>
                </c:pt>
                <c:pt idx="12">
                  <c:v>6pm-7pm</c:v>
                </c:pt>
                <c:pt idx="13">
                  <c:v>7pm-8pm</c:v>
                </c:pt>
                <c:pt idx="14">
                  <c:v>8pm-9pm</c:v>
                </c:pt>
                <c:pt idx="15">
                  <c:v>9pm-10pm</c:v>
                </c:pt>
                <c:pt idx="16">
                  <c:v>10pm-11pm</c:v>
                </c:pt>
                <c:pt idx="17">
                  <c:v>11pm-Midnight</c:v>
                </c:pt>
                <c:pt idx="18">
                  <c:v>Midnight-6am</c:v>
                </c:pt>
              </c:strCache>
            </c:strRef>
          </c:cat>
          <c:val>
            <c:numRef>
              <c:f>Sheet1!$E$2:$E$20</c:f>
              <c:numCache>
                <c:formatCode>0%</c:formatCode>
                <c:ptCount val="19"/>
                <c:pt idx="0">
                  <c:v>0.02</c:v>
                </c:pt>
                <c:pt idx="1">
                  <c:v>0.04</c:v>
                </c:pt>
                <c:pt idx="2">
                  <c:v>0.04</c:v>
                </c:pt>
                <c:pt idx="3">
                  <c:v>0.03</c:v>
                </c:pt>
                <c:pt idx="4">
                  <c:v>0.02</c:v>
                </c:pt>
                <c:pt idx="5">
                  <c:v>0.02</c:v>
                </c:pt>
                <c:pt idx="6">
                  <c:v>0.03</c:v>
                </c:pt>
                <c:pt idx="7">
                  <c:v>0.03</c:v>
                </c:pt>
                <c:pt idx="8">
                  <c:v>0.03</c:v>
                </c:pt>
                <c:pt idx="9">
                  <c:v>0.04</c:v>
                </c:pt>
                <c:pt idx="10">
                  <c:v>0.06</c:v>
                </c:pt>
                <c:pt idx="11">
                  <c:v>0.12</c:v>
                </c:pt>
                <c:pt idx="12">
                  <c:v>0.15</c:v>
                </c:pt>
                <c:pt idx="13">
                  <c:v>0.21</c:v>
                </c:pt>
                <c:pt idx="14">
                  <c:v>0.22</c:v>
                </c:pt>
                <c:pt idx="15">
                  <c:v>0.24</c:v>
                </c:pt>
                <c:pt idx="16">
                  <c:v>0.1</c:v>
                </c:pt>
                <c:pt idx="17">
                  <c:v>0.03</c:v>
                </c:pt>
                <c:pt idx="18">
                  <c:v>0.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7502-47E3-80D7-5FF3DD96EA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89793192"/>
        <c:axId val="289793584"/>
      </c:lineChart>
      <c:catAx>
        <c:axId val="2897931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Gotham Book" panose="02000504050000020004" pitchFamily="2" charset="0"/>
                <a:ea typeface="+mn-ea"/>
                <a:cs typeface="+mn-cs"/>
              </a:defRPr>
            </a:pPr>
            <a:endParaRPr lang="en-US"/>
          </a:p>
        </c:txPr>
        <c:crossAx val="289793584"/>
        <c:crosses val="autoZero"/>
        <c:auto val="1"/>
        <c:lblAlgn val="ctr"/>
        <c:lblOffset val="100"/>
        <c:noMultiLvlLbl val="0"/>
      </c:catAx>
      <c:valAx>
        <c:axId val="289793584"/>
        <c:scaling>
          <c:orientation val="minMax"/>
          <c:max val="0.4"/>
        </c:scaling>
        <c:delete val="1"/>
        <c:axPos val="l"/>
        <c:numFmt formatCode="0%" sourceLinked="1"/>
        <c:majorTickMark val="out"/>
        <c:minorTickMark val="none"/>
        <c:tickLblPos val="nextTo"/>
        <c:crossAx val="289793192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74266883080273816"/>
          <c:y val="0.13221526616996238"/>
          <c:w val="0.25478500574168644"/>
          <c:h val="0.1671067957140043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Gotham Book" panose="02000504050000020004" pitchFamily="2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chemeClr val="tx1"/>
          </a:solidFill>
          <a:latin typeface="Gotham Book" panose="02000504050000020004" pitchFamily="2" charset="0"/>
        </a:defRPr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Teens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</c:spPr>
          <c:dPt>
            <c:idx val="0"/>
            <c:bubble3D val="0"/>
            <c:spPr>
              <a:solidFill>
                <a:srgbClr val="DD2858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62E-2F46-9453-F2FA2BA19AA0}"/>
              </c:ext>
            </c:extLst>
          </c:dPt>
          <c:dPt>
            <c:idx val="1"/>
            <c:bubble3D val="0"/>
            <c:spPr>
              <a:solidFill>
                <a:srgbClr val="FFC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62E-2F46-9453-F2FA2BA19AA0}"/>
              </c:ext>
            </c:extLst>
          </c:dPt>
          <c:dPt>
            <c:idx val="2"/>
            <c:bubble3D val="0"/>
            <c:spPr>
              <a:solidFill>
                <a:srgbClr val="382FA9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62E-2F46-9453-F2FA2BA19AA0}"/>
              </c:ext>
            </c:extLst>
          </c:dPt>
          <c:dPt>
            <c:idx val="3"/>
            <c:bubble3D val="0"/>
            <c:spPr>
              <a:solidFill>
                <a:srgbClr val="00B0F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C62E-2F46-9453-F2FA2BA19AA0}"/>
              </c:ext>
            </c:extLst>
          </c:dPt>
          <c:dLbls>
            <c:dLbl>
              <c:idx val="0"/>
              <c:layout>
                <c:manualLayout>
                  <c:x val="2.1942108488283781E-3"/>
                  <c:y val="-1.8198837786694941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900" b="1" i="0" u="none" strike="noStrike" kern="1200" baseline="0">
                        <a:solidFill>
                          <a:schemeClr val="bg1"/>
                        </a:solidFill>
                        <a:latin typeface="Gotham Medium" panose="02000504050000020004" pitchFamily="2" charset="0"/>
                        <a:ea typeface="+mn-ea"/>
                        <a:cs typeface="+mn-cs"/>
                      </a:defRPr>
                    </a:pPr>
                    <a:fld id="{A8DD6AD3-EEBF-1543-82A2-CAFB7EAFE30D}" type="CATEGORYNAME">
                      <a:rPr lang="en-US" b="1"/>
                      <a:pPr>
                        <a:defRPr b="1"/>
                      </a:pPr>
                      <a:t>[CATEGORY NAME]</a:t>
                    </a:fld>
                    <a:r>
                      <a:rPr lang="en-US" b="1"/>
                      <a:t>, </a:t>
                    </a:r>
                    <a:br>
                      <a:rPr lang="en-US" b="1"/>
                    </a:br>
                    <a:fld id="{42AC9746-38B7-8944-9241-FD43ED43E4D8}" type="VALUE">
                      <a:rPr lang="en-US" b="1"/>
                      <a:pPr>
                        <a:defRPr b="1"/>
                      </a:pPr>
                      <a:t>[VALUE]</a:t>
                    </a:fld>
                    <a:endParaRPr lang="en-US" b="1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1" i="0" u="none" strike="noStrike" kern="1200" baseline="0">
                      <a:solidFill>
                        <a:schemeClr val="bg1"/>
                      </a:solidFill>
                      <a:latin typeface="Gotham Medium" panose="02000504050000020004" pitchFamily="2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C62E-2F46-9453-F2FA2BA19AA0}"/>
                </c:ext>
              </c:extLst>
            </c:dLbl>
            <c:dLbl>
              <c:idx val="1"/>
              <c:layout>
                <c:manualLayout>
                  <c:x val="0.24003304966363218"/>
                  <c:y val="0.1103522204179135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1" i="0" u="none" strike="noStrike" kern="1200" baseline="0">
                      <a:solidFill>
                        <a:schemeClr val="bg1"/>
                      </a:solidFill>
                      <a:latin typeface="Gotham Medium" panose="02000504050000020004" pitchFamily="2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95921268259004"/>
                      <c:h val="0.1519598704834131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C62E-2F46-9453-F2FA2BA19AA0}"/>
                </c:ext>
              </c:extLst>
            </c:dLbl>
            <c:dLbl>
              <c:idx val="2"/>
              <c:layout>
                <c:manualLayout>
                  <c:x val="-0.11578484391951241"/>
                  <c:y val="-8.9552778185436832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62E-2F46-9453-F2FA2BA19AA0}"/>
                </c:ext>
              </c:extLst>
            </c:dLbl>
            <c:dLbl>
              <c:idx val="3"/>
              <c:layout>
                <c:manualLayout>
                  <c:x val="-3.292226586414683E-2"/>
                  <c:y val="-0.10634414445145177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769931256407854"/>
                      <c:h val="0.1970161120079610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C62E-2F46-9453-F2FA2BA19AA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Gotham Medium" panose="02000504050000020004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Radio</c:v>
                </c:pt>
                <c:pt idx="1">
                  <c:v>Music streaming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28000000000000003</c:v>
                </c:pt>
                <c:pt idx="1">
                  <c:v>0.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C62E-2F46-9453-F2FA2BA19A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 b="0" i="0">
          <a:solidFill>
            <a:schemeClr val="bg1"/>
          </a:solidFill>
          <a:latin typeface="Gotham Medium" panose="02000504050000020004" pitchFamily="2" charset="0"/>
        </a:defRPr>
      </a:pPr>
      <a:endParaRPr lang="en-US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18+ adults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</c:spPr>
          <c:dPt>
            <c:idx val="0"/>
            <c:bubble3D val="0"/>
            <c:spPr>
              <a:solidFill>
                <a:srgbClr val="DD2858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7AC-1640-BA47-3C9A7586571B}"/>
              </c:ext>
            </c:extLst>
          </c:dPt>
          <c:dPt>
            <c:idx val="1"/>
            <c:bubble3D val="0"/>
            <c:spPr>
              <a:solidFill>
                <a:srgbClr val="FFC0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7AC-1640-BA47-3C9A7586571B}"/>
              </c:ext>
            </c:extLst>
          </c:dPt>
          <c:dPt>
            <c:idx val="2"/>
            <c:bubble3D val="0"/>
            <c:spPr>
              <a:solidFill>
                <a:srgbClr val="382FA9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7AC-1640-BA47-3C9A7586571B}"/>
              </c:ext>
            </c:extLst>
          </c:dPt>
          <c:dPt>
            <c:idx val="3"/>
            <c:bubble3D val="0"/>
            <c:spPr>
              <a:solidFill>
                <a:srgbClr val="00B0F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7AC-1640-BA47-3C9A7586571B}"/>
              </c:ext>
            </c:extLst>
          </c:dPt>
          <c:dLbls>
            <c:dLbl>
              <c:idx val="0"/>
              <c:layout>
                <c:manualLayout>
                  <c:x val="-0.22755489391906583"/>
                  <c:y val="0.11815320816501819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1" i="0" u="none" strike="noStrike" kern="1200" baseline="0">
                      <a:solidFill>
                        <a:schemeClr val="bg1"/>
                      </a:solidFill>
                      <a:latin typeface="Gotham Medium" panose="02000504050000020004" pitchFamily="2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7AC-1640-BA47-3C9A7586571B}"/>
                </c:ext>
              </c:extLst>
            </c:dLbl>
            <c:dLbl>
              <c:idx val="1"/>
              <c:layout>
                <c:manualLayout>
                  <c:x val="4.5790953641334148E-2"/>
                  <c:y val="-8.565401339363601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900" b="1" i="0" u="none" strike="noStrike" kern="1200" baseline="0">
                      <a:solidFill>
                        <a:schemeClr val="bg1"/>
                      </a:solidFill>
                      <a:latin typeface="Gotham Medium" panose="02000504050000020004" pitchFamily="2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541474071571864"/>
                      <c:h val="0.1519597251486317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D7AC-1640-BA47-3C9A7586571B}"/>
                </c:ext>
              </c:extLst>
            </c:dLbl>
            <c:dLbl>
              <c:idx val="2"/>
              <c:layout>
                <c:manualLayout>
                  <c:x val="-0.16461132932073416"/>
                  <c:y val="-5.597048636589802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7AC-1640-BA47-3C9A7586571B}"/>
                </c:ext>
              </c:extLst>
            </c:dLbl>
            <c:dLbl>
              <c:idx val="3"/>
              <c:layout>
                <c:manualLayout>
                  <c:x val="-3.292226586414683E-2"/>
                  <c:y val="-7.8358901268502756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769931256407854"/>
                      <c:h val="0.1970161120079610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D7AC-1640-BA47-3C9A7586571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Gotham Medium" panose="02000504050000020004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Radio</c:v>
                </c:pt>
                <c:pt idx="1">
                  <c:v>Music streaming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73</c:v>
                </c:pt>
                <c:pt idx="1">
                  <c:v>0.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7AC-1640-BA47-3C9A758657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 b="0" i="0">
          <a:solidFill>
            <a:schemeClr val="bg1"/>
          </a:solidFill>
          <a:latin typeface="Gotham Medium" panose="02000504050000020004" pitchFamily="2" charset="0"/>
        </a:defRPr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20">
  <a:schemeClr val="dk1"/>
  <cs:variation>
    <a:tint val="88500"/>
  </cs:variation>
  <cs:variation>
    <a:tint val="55000"/>
  </cs:variation>
  <cs:variation>
    <a:tint val="75000"/>
  </cs:variation>
  <cs:variation>
    <a:tint val="98500"/>
  </cs:variation>
  <cs:variation>
    <a:tint val="30000"/>
  </cs:variation>
  <cs:variation>
    <a:tint val="60000"/>
  </cs:variation>
  <cs:variation>
    <a:tint val="8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3"/>
            <a:ext cx="2887186" cy="496332"/>
          </a:xfrm>
          <a:prstGeom prst="rect">
            <a:avLst/>
          </a:prstGeom>
        </p:spPr>
        <p:txBody>
          <a:bodyPr vert="horz" lIns="90957" tIns="45480" rIns="90957" bIns="45480" rtlCol="0"/>
          <a:lstStyle>
            <a:lvl1pPr algn="l">
              <a:defRPr sz="1200"/>
            </a:lvl1pPr>
          </a:lstStyle>
          <a:p>
            <a:endParaRPr lang="en-GB">
              <a:solidFill>
                <a:schemeClr val="tx2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774013" y="3"/>
            <a:ext cx="2887186" cy="496332"/>
          </a:xfrm>
          <a:prstGeom prst="rect">
            <a:avLst/>
          </a:prstGeom>
        </p:spPr>
        <p:txBody>
          <a:bodyPr vert="horz" lIns="90957" tIns="45480" rIns="90957" bIns="45480" rtlCol="0"/>
          <a:lstStyle>
            <a:lvl1pPr algn="r">
              <a:defRPr sz="1200"/>
            </a:lvl1pPr>
          </a:lstStyle>
          <a:p>
            <a:fld id="{B975E895-A812-407D-98E7-1F6D83BA666D}" type="datetimeFigureOut">
              <a:rPr lang="en-GB" smtClean="0">
                <a:solidFill>
                  <a:schemeClr val="tx2"/>
                </a:solidFill>
              </a:rPr>
              <a:pPr/>
              <a:t>31/01/2020</a:t>
            </a:fld>
            <a:endParaRPr lang="en-GB">
              <a:solidFill>
                <a:schemeClr val="tx2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428587"/>
            <a:ext cx="2887186" cy="496332"/>
          </a:xfrm>
          <a:prstGeom prst="rect">
            <a:avLst/>
          </a:prstGeom>
        </p:spPr>
        <p:txBody>
          <a:bodyPr vert="horz" lIns="90957" tIns="45480" rIns="90957" bIns="45480" rtlCol="0" anchor="b"/>
          <a:lstStyle>
            <a:lvl1pPr algn="l">
              <a:defRPr sz="1200"/>
            </a:lvl1pPr>
          </a:lstStyle>
          <a:p>
            <a:endParaRPr lang="en-GB">
              <a:solidFill>
                <a:schemeClr val="tx2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774013" y="9428587"/>
            <a:ext cx="2887186" cy="496332"/>
          </a:xfrm>
          <a:prstGeom prst="rect">
            <a:avLst/>
          </a:prstGeom>
        </p:spPr>
        <p:txBody>
          <a:bodyPr vert="horz" lIns="90957" tIns="45480" rIns="90957" bIns="45480" rtlCol="0" anchor="b"/>
          <a:lstStyle>
            <a:lvl1pPr algn="r">
              <a:defRPr sz="1200"/>
            </a:lvl1pPr>
          </a:lstStyle>
          <a:p>
            <a:fld id="{2869C025-2725-493C-91FC-99F4148035BE}" type="slidenum">
              <a:rPr lang="en-GB" smtClean="0">
                <a:solidFill>
                  <a:schemeClr val="tx2"/>
                </a:solidFill>
              </a:rPr>
              <a:pPr/>
              <a:t>‹#›</a:t>
            </a:fld>
            <a:endParaRPr lang="en-GB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50088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3"/>
            <a:ext cx="2887186" cy="496332"/>
          </a:xfrm>
          <a:prstGeom prst="rect">
            <a:avLst/>
          </a:prstGeom>
        </p:spPr>
        <p:txBody>
          <a:bodyPr vert="horz" lIns="90957" tIns="45480" rIns="90957" bIns="45480" rtlCol="0"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4013" y="3"/>
            <a:ext cx="2887186" cy="496332"/>
          </a:xfrm>
          <a:prstGeom prst="rect">
            <a:avLst/>
          </a:prstGeom>
        </p:spPr>
        <p:txBody>
          <a:bodyPr vert="horz" lIns="90957" tIns="45480" rIns="90957" bIns="45480" rtlCol="0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85467521-5695-45DA-8415-BDB7AEFF5916}" type="datetimeFigureOut">
              <a:rPr lang="en-GB" smtClean="0"/>
              <a:pPr/>
              <a:t>31/01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3813" y="742950"/>
            <a:ext cx="6615112" cy="37226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957" tIns="45480" rIns="90957" bIns="4548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6274" y="4715156"/>
            <a:ext cx="5330190" cy="4466988"/>
          </a:xfrm>
          <a:prstGeom prst="rect">
            <a:avLst/>
          </a:prstGeom>
        </p:spPr>
        <p:txBody>
          <a:bodyPr vert="horz" lIns="90957" tIns="45480" rIns="90957" bIns="45480" rtlCol="0"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" y="9428587"/>
            <a:ext cx="2887186" cy="496332"/>
          </a:xfrm>
          <a:prstGeom prst="rect">
            <a:avLst/>
          </a:prstGeom>
        </p:spPr>
        <p:txBody>
          <a:bodyPr vert="horz" lIns="90957" tIns="45480" rIns="90957" bIns="45480" rtlCol="0" anchor="b"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4013" y="9428587"/>
            <a:ext cx="2887186" cy="496332"/>
          </a:xfrm>
          <a:prstGeom prst="rect">
            <a:avLst/>
          </a:prstGeom>
        </p:spPr>
        <p:txBody>
          <a:bodyPr vert="horz" lIns="90957" tIns="45480" rIns="90957" bIns="45480" rtlCol="0" anchor="b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4EE48774-498B-401E-9F5D-F3F74657273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06303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10" indent="-171410" algn="l" defTabSz="914183" rtl="0" eaLnBrk="1" latinLnBrk="0" hangingPunct="1">
      <a:spcBef>
        <a:spcPts val="600"/>
      </a:spcBef>
      <a:buFont typeface="Arial" pitchFamily="34" charset="0"/>
      <a:buChar char="•"/>
      <a:defRPr sz="1200" kern="1200">
        <a:solidFill>
          <a:schemeClr val="tx2"/>
        </a:solidFill>
        <a:latin typeface="+mn-lt"/>
        <a:ea typeface="+mn-ea"/>
        <a:cs typeface="+mn-cs"/>
      </a:defRPr>
    </a:lvl1pPr>
    <a:lvl2pPr marL="628502" indent="-171410" algn="l" defTabSz="914183" rtl="0" eaLnBrk="1" latinLnBrk="0" hangingPunct="1">
      <a:spcBef>
        <a:spcPts val="600"/>
      </a:spcBef>
      <a:buFont typeface="Arial" pitchFamily="34" charset="0"/>
      <a:buChar char="•"/>
      <a:defRPr sz="1200" kern="1200">
        <a:solidFill>
          <a:schemeClr val="tx2"/>
        </a:solidFill>
        <a:latin typeface="+mn-lt"/>
        <a:ea typeface="+mn-ea"/>
        <a:cs typeface="+mn-cs"/>
      </a:defRPr>
    </a:lvl2pPr>
    <a:lvl3pPr marL="1085592" indent="-171410" algn="l" defTabSz="914183" rtl="0" eaLnBrk="1" latinLnBrk="0" hangingPunct="1">
      <a:spcBef>
        <a:spcPts val="600"/>
      </a:spcBef>
      <a:buFont typeface="Arial" pitchFamily="34" charset="0"/>
      <a:buChar char="•"/>
      <a:defRPr sz="1200" kern="1200">
        <a:solidFill>
          <a:schemeClr val="tx2"/>
        </a:solidFill>
        <a:latin typeface="+mn-lt"/>
        <a:ea typeface="+mn-ea"/>
        <a:cs typeface="+mn-cs"/>
      </a:defRPr>
    </a:lvl3pPr>
    <a:lvl4pPr marL="1542680" indent="-171410" algn="l" defTabSz="914183" rtl="0" eaLnBrk="1" latinLnBrk="0" hangingPunct="1">
      <a:spcBef>
        <a:spcPts val="600"/>
      </a:spcBef>
      <a:buFont typeface="Arial" pitchFamily="34" charset="0"/>
      <a:buChar char="•"/>
      <a:defRPr sz="1200" kern="1200">
        <a:solidFill>
          <a:schemeClr val="tx2"/>
        </a:solidFill>
        <a:latin typeface="+mn-lt"/>
        <a:ea typeface="+mn-ea"/>
        <a:cs typeface="+mn-cs"/>
      </a:defRPr>
    </a:lvl4pPr>
    <a:lvl5pPr marL="1999772" indent="-171410" algn="l" defTabSz="914183" rtl="0" eaLnBrk="1" latinLnBrk="0" hangingPunct="1">
      <a:spcBef>
        <a:spcPts val="600"/>
      </a:spcBef>
      <a:buFont typeface="Arial" pitchFamily="34" charset="0"/>
      <a:buChar char="•"/>
      <a:defRPr sz="1200" kern="1200">
        <a:solidFill>
          <a:schemeClr val="tx2"/>
        </a:solidFill>
        <a:latin typeface="+mn-lt"/>
        <a:ea typeface="+mn-ea"/>
        <a:cs typeface="+mn-cs"/>
      </a:defRPr>
    </a:lvl5pPr>
    <a:lvl6pPr marL="2285455" algn="l" defTabSz="91418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545" algn="l" defTabSz="91418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636" algn="l" defTabSz="91418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726" algn="l" defTabSz="91418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E48774-498B-401E-9F5D-F3F74657273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2D0C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2D0C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786157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05681">
              <a:defRPr/>
            </a:pPr>
            <a:fld id="{2B080EFC-5C4B-7140-A040-DAB652EE015A}" type="slidenum">
              <a:rPr lang="en-GB">
                <a:solidFill>
                  <a:srgbClr val="2D0C4B"/>
                </a:solidFill>
                <a:latin typeface="Arial"/>
              </a:rPr>
              <a:pPr defTabSz="905681">
                <a:defRPr/>
              </a:pPr>
              <a:t>16</a:t>
            </a:fld>
            <a:endParaRPr lang="en-GB" dirty="0">
              <a:solidFill>
                <a:srgbClr val="2D0C4B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1802058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641C8B-FE0F-4378-A9CD-29EDE0D6EFE5}" type="slidenum">
              <a:rPr lang="en-IE" smtClean="0"/>
              <a:t>17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50081063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E48774-498B-401E-9F5D-F3F74657273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2D0C4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2D0C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420144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E48774-498B-401E-9F5D-F3F746572737}" type="slidenum">
              <a:rPr lang="en-GB" smtClean="0"/>
              <a:pPr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57072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97477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54482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17910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48854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10920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8238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2640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05681">
              <a:defRPr/>
            </a:pPr>
            <a:fld id="{2B080EFC-5C4B-7140-A040-DAB652EE015A}" type="slidenum">
              <a:rPr lang="en-GB">
                <a:solidFill>
                  <a:srgbClr val="2D0C4B"/>
                </a:solidFill>
                <a:latin typeface="Arial"/>
              </a:rPr>
              <a:pPr defTabSz="905681">
                <a:defRPr/>
              </a:pPr>
              <a:t>15</a:t>
            </a:fld>
            <a:endParaRPr lang="en-GB" dirty="0">
              <a:solidFill>
                <a:srgbClr val="2D0C4B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18519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png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png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indshare Cover Slide (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>
            <a:grpSpLocks noChangeAspect="1"/>
          </p:cNvGrpSpPr>
          <p:nvPr userDrawn="1"/>
        </p:nvGrpSpPr>
        <p:grpSpPr>
          <a:xfrm>
            <a:off x="556546" y="1881242"/>
            <a:ext cx="1548000" cy="476913"/>
            <a:chOff x="5043330" y="2582427"/>
            <a:chExt cx="2714033" cy="836158"/>
          </a:xfrm>
        </p:grpSpPr>
        <p:pic>
          <p:nvPicPr>
            <p:cNvPr id="27" name="logo graphic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21205" y="2582427"/>
              <a:ext cx="836158" cy="836158"/>
            </a:xfrm>
            <a:prstGeom prst="rect">
              <a:avLst/>
            </a:prstGeom>
          </p:spPr>
        </p:pic>
        <p:grpSp>
          <p:nvGrpSpPr>
            <p:cNvPr id="28" name="letters"/>
            <p:cNvGrpSpPr/>
            <p:nvPr/>
          </p:nvGrpSpPr>
          <p:grpSpPr>
            <a:xfrm>
              <a:off x="5043330" y="2901718"/>
              <a:ext cx="1777426" cy="197580"/>
              <a:chOff x="566670" y="435864"/>
              <a:chExt cx="1169700" cy="130025"/>
            </a:xfrm>
            <a:solidFill>
              <a:schemeClr val="tx1"/>
            </a:solidFill>
          </p:grpSpPr>
          <p:sp>
            <p:nvSpPr>
              <p:cNvPr id="29" name="Freeform 6"/>
              <p:cNvSpPr>
                <a:spLocks/>
              </p:cNvSpPr>
              <p:nvPr/>
            </p:nvSpPr>
            <p:spPr bwMode="auto">
              <a:xfrm>
                <a:off x="566670" y="437296"/>
                <a:ext cx="146069" cy="127448"/>
              </a:xfrm>
              <a:custGeom>
                <a:avLst/>
                <a:gdLst>
                  <a:gd name="T0" fmla="*/ 216 w 216"/>
                  <a:gd name="T1" fmla="*/ 188 h 188"/>
                  <a:gd name="T2" fmla="*/ 178 w 216"/>
                  <a:gd name="T3" fmla="*/ 188 h 188"/>
                  <a:gd name="T4" fmla="*/ 178 w 216"/>
                  <a:gd name="T5" fmla="*/ 66 h 188"/>
                  <a:gd name="T6" fmla="*/ 113 w 216"/>
                  <a:gd name="T7" fmla="*/ 145 h 188"/>
                  <a:gd name="T8" fmla="*/ 103 w 216"/>
                  <a:gd name="T9" fmla="*/ 145 h 188"/>
                  <a:gd name="T10" fmla="*/ 38 w 216"/>
                  <a:gd name="T11" fmla="*/ 66 h 188"/>
                  <a:gd name="T12" fmla="*/ 38 w 216"/>
                  <a:gd name="T13" fmla="*/ 188 h 188"/>
                  <a:gd name="T14" fmla="*/ 0 w 216"/>
                  <a:gd name="T15" fmla="*/ 188 h 188"/>
                  <a:gd name="T16" fmla="*/ 0 w 216"/>
                  <a:gd name="T17" fmla="*/ 20 h 188"/>
                  <a:gd name="T18" fmla="*/ 20 w 216"/>
                  <a:gd name="T19" fmla="*/ 0 h 188"/>
                  <a:gd name="T20" fmla="*/ 20 w 216"/>
                  <a:gd name="T21" fmla="*/ 0 h 188"/>
                  <a:gd name="T22" fmla="*/ 38 w 216"/>
                  <a:gd name="T23" fmla="*/ 9 h 188"/>
                  <a:gd name="T24" fmla="*/ 108 w 216"/>
                  <a:gd name="T25" fmla="*/ 94 h 188"/>
                  <a:gd name="T26" fmla="*/ 182 w 216"/>
                  <a:gd name="T27" fmla="*/ 6 h 188"/>
                  <a:gd name="T28" fmla="*/ 196 w 216"/>
                  <a:gd name="T29" fmla="*/ 0 h 188"/>
                  <a:gd name="T30" fmla="*/ 196 w 216"/>
                  <a:gd name="T31" fmla="*/ 0 h 188"/>
                  <a:gd name="T32" fmla="*/ 216 w 216"/>
                  <a:gd name="T33" fmla="*/ 19 h 188"/>
                  <a:gd name="T34" fmla="*/ 216 w 216"/>
                  <a:gd name="T35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16" h="188">
                    <a:moveTo>
                      <a:pt x="216" y="188"/>
                    </a:moveTo>
                    <a:cubicBezTo>
                      <a:pt x="178" y="188"/>
                      <a:pt x="178" y="188"/>
                      <a:pt x="178" y="188"/>
                    </a:cubicBezTo>
                    <a:cubicBezTo>
                      <a:pt x="178" y="66"/>
                      <a:pt x="178" y="66"/>
                      <a:pt x="178" y="66"/>
                    </a:cubicBezTo>
                    <a:cubicBezTo>
                      <a:pt x="113" y="145"/>
                      <a:pt x="113" y="145"/>
                      <a:pt x="113" y="145"/>
                    </a:cubicBezTo>
                    <a:cubicBezTo>
                      <a:pt x="110" y="148"/>
                      <a:pt x="106" y="148"/>
                      <a:pt x="103" y="145"/>
                    </a:cubicBezTo>
                    <a:cubicBezTo>
                      <a:pt x="38" y="66"/>
                      <a:pt x="38" y="66"/>
                      <a:pt x="38" y="66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8" y="0"/>
                      <a:pt x="32" y="3"/>
                      <a:pt x="38" y="9"/>
                    </a:cubicBezTo>
                    <a:cubicBezTo>
                      <a:pt x="108" y="94"/>
                      <a:pt x="108" y="94"/>
                      <a:pt x="108" y="94"/>
                    </a:cubicBezTo>
                    <a:cubicBezTo>
                      <a:pt x="182" y="6"/>
                      <a:pt x="182" y="6"/>
                      <a:pt x="182" y="6"/>
                    </a:cubicBezTo>
                    <a:cubicBezTo>
                      <a:pt x="185" y="2"/>
                      <a:pt x="190" y="0"/>
                      <a:pt x="196" y="0"/>
                    </a:cubicBezTo>
                    <a:cubicBezTo>
                      <a:pt x="196" y="0"/>
                      <a:pt x="196" y="0"/>
                      <a:pt x="196" y="0"/>
                    </a:cubicBezTo>
                    <a:cubicBezTo>
                      <a:pt x="207" y="0"/>
                      <a:pt x="216" y="8"/>
                      <a:pt x="216" y="19"/>
                    </a:cubicBezTo>
                    <a:lnTo>
                      <a:pt x="216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0" name="Freeform 7"/>
              <p:cNvSpPr>
                <a:spLocks noEditPoints="1"/>
              </p:cNvSpPr>
              <p:nvPr/>
            </p:nvSpPr>
            <p:spPr bwMode="auto">
              <a:xfrm>
                <a:off x="1350862" y="436723"/>
                <a:ext cx="146069" cy="128020"/>
              </a:xfrm>
              <a:custGeom>
                <a:avLst/>
                <a:gdLst>
                  <a:gd name="T0" fmla="*/ 0 w 216"/>
                  <a:gd name="T1" fmla="*/ 189 h 189"/>
                  <a:gd name="T2" fmla="*/ 42 w 216"/>
                  <a:gd name="T3" fmla="*/ 189 h 189"/>
                  <a:gd name="T4" fmla="*/ 66 w 216"/>
                  <a:gd name="T5" fmla="*/ 138 h 189"/>
                  <a:gd name="T6" fmla="*/ 148 w 216"/>
                  <a:gd name="T7" fmla="*/ 138 h 189"/>
                  <a:gd name="T8" fmla="*/ 174 w 216"/>
                  <a:gd name="T9" fmla="*/ 189 h 189"/>
                  <a:gd name="T10" fmla="*/ 216 w 216"/>
                  <a:gd name="T11" fmla="*/ 189 h 189"/>
                  <a:gd name="T12" fmla="*/ 124 w 216"/>
                  <a:gd name="T13" fmla="*/ 9 h 189"/>
                  <a:gd name="T14" fmla="*/ 106 w 216"/>
                  <a:gd name="T15" fmla="*/ 0 h 189"/>
                  <a:gd name="T16" fmla="*/ 106 w 216"/>
                  <a:gd name="T17" fmla="*/ 0 h 189"/>
                  <a:gd name="T18" fmla="*/ 89 w 216"/>
                  <a:gd name="T19" fmla="*/ 9 h 189"/>
                  <a:gd name="T20" fmla="*/ 0 w 216"/>
                  <a:gd name="T21" fmla="*/ 189 h 189"/>
                  <a:gd name="T22" fmla="*/ 106 w 216"/>
                  <a:gd name="T23" fmla="*/ 55 h 189"/>
                  <a:gd name="T24" fmla="*/ 133 w 216"/>
                  <a:gd name="T25" fmla="*/ 108 h 189"/>
                  <a:gd name="T26" fmla="*/ 81 w 216"/>
                  <a:gd name="T27" fmla="*/ 108 h 189"/>
                  <a:gd name="T28" fmla="*/ 106 w 216"/>
                  <a:gd name="T29" fmla="*/ 55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16" h="189">
                    <a:moveTo>
                      <a:pt x="0" y="189"/>
                    </a:moveTo>
                    <a:cubicBezTo>
                      <a:pt x="42" y="189"/>
                      <a:pt x="42" y="189"/>
                      <a:pt x="42" y="189"/>
                    </a:cubicBezTo>
                    <a:cubicBezTo>
                      <a:pt x="66" y="138"/>
                      <a:pt x="66" y="138"/>
                      <a:pt x="66" y="138"/>
                    </a:cubicBezTo>
                    <a:cubicBezTo>
                      <a:pt x="148" y="138"/>
                      <a:pt x="148" y="138"/>
                      <a:pt x="148" y="138"/>
                    </a:cubicBezTo>
                    <a:cubicBezTo>
                      <a:pt x="174" y="189"/>
                      <a:pt x="174" y="189"/>
                      <a:pt x="174" y="189"/>
                    </a:cubicBezTo>
                    <a:cubicBezTo>
                      <a:pt x="216" y="189"/>
                      <a:pt x="216" y="189"/>
                      <a:pt x="216" y="189"/>
                    </a:cubicBezTo>
                    <a:cubicBezTo>
                      <a:pt x="124" y="9"/>
                      <a:pt x="124" y="9"/>
                      <a:pt x="124" y="9"/>
                    </a:cubicBezTo>
                    <a:cubicBezTo>
                      <a:pt x="120" y="3"/>
                      <a:pt x="114" y="0"/>
                      <a:pt x="106" y="0"/>
                    </a:cubicBezTo>
                    <a:cubicBezTo>
                      <a:pt x="106" y="0"/>
                      <a:pt x="106" y="0"/>
                      <a:pt x="106" y="0"/>
                    </a:cubicBezTo>
                    <a:cubicBezTo>
                      <a:pt x="99" y="0"/>
                      <a:pt x="93" y="3"/>
                      <a:pt x="89" y="9"/>
                    </a:cubicBezTo>
                    <a:lnTo>
                      <a:pt x="0" y="189"/>
                    </a:lnTo>
                    <a:close/>
                    <a:moveTo>
                      <a:pt x="106" y="55"/>
                    </a:moveTo>
                    <a:cubicBezTo>
                      <a:pt x="133" y="108"/>
                      <a:pt x="133" y="108"/>
                      <a:pt x="133" y="108"/>
                    </a:cubicBezTo>
                    <a:cubicBezTo>
                      <a:pt x="81" y="108"/>
                      <a:pt x="81" y="108"/>
                      <a:pt x="81" y="108"/>
                    </a:cubicBezTo>
                    <a:lnTo>
                      <a:pt x="106" y="5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1" name="Freeform 8"/>
              <p:cNvSpPr>
                <a:spLocks/>
              </p:cNvSpPr>
              <p:nvPr/>
            </p:nvSpPr>
            <p:spPr bwMode="auto">
              <a:xfrm>
                <a:off x="789211" y="437296"/>
                <a:ext cx="128598" cy="127448"/>
              </a:xfrm>
              <a:custGeom>
                <a:avLst/>
                <a:gdLst>
                  <a:gd name="T0" fmla="*/ 190 w 190"/>
                  <a:gd name="T1" fmla="*/ 188 h 188"/>
                  <a:gd name="T2" fmla="*/ 163 w 190"/>
                  <a:gd name="T3" fmla="*/ 188 h 188"/>
                  <a:gd name="T4" fmla="*/ 38 w 190"/>
                  <a:gd name="T5" fmla="*/ 62 h 188"/>
                  <a:gd name="T6" fmla="*/ 38 w 190"/>
                  <a:gd name="T7" fmla="*/ 188 h 188"/>
                  <a:gd name="T8" fmla="*/ 0 w 190"/>
                  <a:gd name="T9" fmla="*/ 188 h 188"/>
                  <a:gd name="T10" fmla="*/ 0 w 190"/>
                  <a:gd name="T11" fmla="*/ 20 h 188"/>
                  <a:gd name="T12" fmla="*/ 21 w 190"/>
                  <a:gd name="T13" fmla="*/ 0 h 188"/>
                  <a:gd name="T14" fmla="*/ 21 w 190"/>
                  <a:gd name="T15" fmla="*/ 0 h 188"/>
                  <a:gd name="T16" fmla="*/ 36 w 190"/>
                  <a:gd name="T17" fmla="*/ 6 h 188"/>
                  <a:gd name="T18" fmla="*/ 152 w 190"/>
                  <a:gd name="T19" fmla="*/ 123 h 188"/>
                  <a:gd name="T20" fmla="*/ 152 w 190"/>
                  <a:gd name="T21" fmla="*/ 12 h 188"/>
                  <a:gd name="T22" fmla="*/ 165 w 190"/>
                  <a:gd name="T23" fmla="*/ 0 h 188"/>
                  <a:gd name="T24" fmla="*/ 178 w 190"/>
                  <a:gd name="T25" fmla="*/ 0 h 188"/>
                  <a:gd name="T26" fmla="*/ 190 w 190"/>
                  <a:gd name="T27" fmla="*/ 12 h 188"/>
                  <a:gd name="T28" fmla="*/ 190 w 190"/>
                  <a:gd name="T29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0" h="188">
                    <a:moveTo>
                      <a:pt x="190" y="188"/>
                    </a:moveTo>
                    <a:cubicBezTo>
                      <a:pt x="163" y="188"/>
                      <a:pt x="163" y="188"/>
                      <a:pt x="163" y="188"/>
                    </a:cubicBezTo>
                    <a:cubicBezTo>
                      <a:pt x="38" y="62"/>
                      <a:pt x="38" y="62"/>
                      <a:pt x="38" y="62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1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7" y="0"/>
                      <a:pt x="32" y="2"/>
                      <a:pt x="36" y="6"/>
                    </a:cubicBezTo>
                    <a:cubicBezTo>
                      <a:pt x="152" y="123"/>
                      <a:pt x="152" y="123"/>
                      <a:pt x="152" y="123"/>
                    </a:cubicBezTo>
                    <a:cubicBezTo>
                      <a:pt x="152" y="12"/>
                      <a:pt x="152" y="12"/>
                      <a:pt x="152" y="12"/>
                    </a:cubicBezTo>
                    <a:cubicBezTo>
                      <a:pt x="152" y="5"/>
                      <a:pt x="158" y="0"/>
                      <a:pt x="165" y="0"/>
                    </a:cubicBezTo>
                    <a:cubicBezTo>
                      <a:pt x="178" y="0"/>
                      <a:pt x="178" y="0"/>
                      <a:pt x="178" y="0"/>
                    </a:cubicBezTo>
                    <a:cubicBezTo>
                      <a:pt x="185" y="0"/>
                      <a:pt x="190" y="5"/>
                      <a:pt x="190" y="12"/>
                    </a:cubicBezTo>
                    <a:lnTo>
                      <a:pt x="190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2" name="Freeform 9"/>
              <p:cNvSpPr>
                <a:spLocks noEditPoints="1"/>
              </p:cNvSpPr>
              <p:nvPr/>
            </p:nvSpPr>
            <p:spPr bwMode="auto">
              <a:xfrm>
                <a:off x="943586" y="437296"/>
                <a:ext cx="127739" cy="127448"/>
              </a:xfrm>
              <a:custGeom>
                <a:avLst/>
                <a:gdLst>
                  <a:gd name="T0" fmla="*/ 117 w 189"/>
                  <a:gd name="T1" fmla="*/ 4 h 188"/>
                  <a:gd name="T2" fmla="*/ 72 w 189"/>
                  <a:gd name="T3" fmla="*/ 0 h 188"/>
                  <a:gd name="T4" fmla="*/ 19 w 189"/>
                  <a:gd name="T5" fmla="*/ 0 h 188"/>
                  <a:gd name="T6" fmla="*/ 0 w 189"/>
                  <a:gd name="T7" fmla="*/ 18 h 188"/>
                  <a:gd name="T8" fmla="*/ 0 w 189"/>
                  <a:gd name="T9" fmla="*/ 188 h 188"/>
                  <a:gd name="T10" fmla="*/ 62 w 189"/>
                  <a:gd name="T11" fmla="*/ 188 h 188"/>
                  <a:gd name="T12" fmla="*/ 115 w 189"/>
                  <a:gd name="T13" fmla="*/ 182 h 188"/>
                  <a:gd name="T14" fmla="*/ 189 w 189"/>
                  <a:gd name="T15" fmla="*/ 91 h 188"/>
                  <a:gd name="T16" fmla="*/ 117 w 189"/>
                  <a:gd name="T17" fmla="*/ 4 h 188"/>
                  <a:gd name="T18" fmla="*/ 105 w 189"/>
                  <a:gd name="T19" fmla="*/ 148 h 188"/>
                  <a:gd name="T20" fmla="*/ 62 w 189"/>
                  <a:gd name="T21" fmla="*/ 153 h 188"/>
                  <a:gd name="T22" fmla="*/ 62 w 189"/>
                  <a:gd name="T23" fmla="*/ 153 h 188"/>
                  <a:gd name="T24" fmla="*/ 38 w 189"/>
                  <a:gd name="T25" fmla="*/ 153 h 188"/>
                  <a:gd name="T26" fmla="*/ 38 w 189"/>
                  <a:gd name="T27" fmla="*/ 153 h 188"/>
                  <a:gd name="T28" fmla="*/ 38 w 189"/>
                  <a:gd name="T29" fmla="*/ 34 h 188"/>
                  <a:gd name="T30" fmla="*/ 38 w 189"/>
                  <a:gd name="T31" fmla="*/ 34 h 188"/>
                  <a:gd name="T32" fmla="*/ 68 w 189"/>
                  <a:gd name="T33" fmla="*/ 34 h 188"/>
                  <a:gd name="T34" fmla="*/ 68 w 189"/>
                  <a:gd name="T35" fmla="*/ 34 h 188"/>
                  <a:gd name="T36" fmla="*/ 107 w 189"/>
                  <a:gd name="T37" fmla="*/ 38 h 188"/>
                  <a:gd name="T38" fmla="*/ 150 w 189"/>
                  <a:gd name="T39" fmla="*/ 91 h 188"/>
                  <a:gd name="T40" fmla="*/ 105 w 189"/>
                  <a:gd name="T41" fmla="*/ 14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89" h="188">
                    <a:moveTo>
                      <a:pt x="117" y="4"/>
                    </a:moveTo>
                    <a:cubicBezTo>
                      <a:pt x="104" y="1"/>
                      <a:pt x="89" y="0"/>
                      <a:pt x="72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9" y="0"/>
                      <a:pt x="0" y="8"/>
                      <a:pt x="0" y="1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62" y="188"/>
                      <a:pt x="62" y="188"/>
                      <a:pt x="62" y="188"/>
                    </a:cubicBezTo>
                    <a:cubicBezTo>
                      <a:pt x="84" y="188"/>
                      <a:pt x="100" y="186"/>
                      <a:pt x="115" y="182"/>
                    </a:cubicBezTo>
                    <a:cubicBezTo>
                      <a:pt x="163" y="168"/>
                      <a:pt x="189" y="136"/>
                      <a:pt x="189" y="91"/>
                    </a:cubicBezTo>
                    <a:cubicBezTo>
                      <a:pt x="189" y="46"/>
                      <a:pt x="164" y="15"/>
                      <a:pt x="117" y="4"/>
                    </a:cubicBezTo>
                    <a:close/>
                    <a:moveTo>
                      <a:pt x="105" y="148"/>
                    </a:moveTo>
                    <a:cubicBezTo>
                      <a:pt x="94" y="151"/>
                      <a:pt x="79" y="153"/>
                      <a:pt x="62" y="153"/>
                    </a:cubicBezTo>
                    <a:cubicBezTo>
                      <a:pt x="62" y="153"/>
                      <a:pt x="62" y="153"/>
                      <a:pt x="62" y="153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68" y="34"/>
                      <a:pt x="68" y="34"/>
                      <a:pt x="68" y="34"/>
                    </a:cubicBezTo>
                    <a:cubicBezTo>
                      <a:pt x="68" y="34"/>
                      <a:pt x="68" y="34"/>
                      <a:pt x="68" y="34"/>
                    </a:cubicBezTo>
                    <a:cubicBezTo>
                      <a:pt x="86" y="34"/>
                      <a:pt x="97" y="35"/>
                      <a:pt x="107" y="38"/>
                    </a:cubicBezTo>
                    <a:cubicBezTo>
                      <a:pt x="136" y="46"/>
                      <a:pt x="150" y="63"/>
                      <a:pt x="150" y="91"/>
                    </a:cubicBezTo>
                    <a:cubicBezTo>
                      <a:pt x="150" y="120"/>
                      <a:pt x="135" y="139"/>
                      <a:pt x="105" y="14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3" name="Freeform 10"/>
              <p:cNvSpPr>
                <a:spLocks noEditPoints="1"/>
              </p:cNvSpPr>
              <p:nvPr/>
            </p:nvSpPr>
            <p:spPr bwMode="auto">
              <a:xfrm>
                <a:off x="1513256" y="437296"/>
                <a:ext cx="110841" cy="127448"/>
              </a:xfrm>
              <a:custGeom>
                <a:avLst/>
                <a:gdLst>
                  <a:gd name="T0" fmla="*/ 113 w 164"/>
                  <a:gd name="T1" fmla="*/ 113 h 188"/>
                  <a:gd name="T2" fmla="*/ 158 w 164"/>
                  <a:gd name="T3" fmla="*/ 58 h 188"/>
                  <a:gd name="T4" fmla="*/ 82 w 164"/>
                  <a:gd name="T5" fmla="*/ 0 h 188"/>
                  <a:gd name="T6" fmla="*/ 19 w 164"/>
                  <a:gd name="T7" fmla="*/ 0 h 188"/>
                  <a:gd name="T8" fmla="*/ 0 w 164"/>
                  <a:gd name="T9" fmla="*/ 18 h 188"/>
                  <a:gd name="T10" fmla="*/ 0 w 164"/>
                  <a:gd name="T11" fmla="*/ 188 h 188"/>
                  <a:gd name="T12" fmla="*/ 38 w 164"/>
                  <a:gd name="T13" fmla="*/ 188 h 188"/>
                  <a:gd name="T14" fmla="*/ 38 w 164"/>
                  <a:gd name="T15" fmla="*/ 118 h 188"/>
                  <a:gd name="T16" fmla="*/ 72 w 164"/>
                  <a:gd name="T17" fmla="*/ 118 h 188"/>
                  <a:gd name="T18" fmla="*/ 119 w 164"/>
                  <a:gd name="T19" fmla="*/ 188 h 188"/>
                  <a:gd name="T20" fmla="*/ 164 w 164"/>
                  <a:gd name="T21" fmla="*/ 188 h 188"/>
                  <a:gd name="T22" fmla="*/ 113 w 164"/>
                  <a:gd name="T23" fmla="*/ 113 h 188"/>
                  <a:gd name="T24" fmla="*/ 38 w 164"/>
                  <a:gd name="T25" fmla="*/ 83 h 188"/>
                  <a:gd name="T26" fmla="*/ 38 w 164"/>
                  <a:gd name="T27" fmla="*/ 34 h 188"/>
                  <a:gd name="T28" fmla="*/ 85 w 164"/>
                  <a:gd name="T29" fmla="*/ 34 h 188"/>
                  <a:gd name="T30" fmla="*/ 118 w 164"/>
                  <a:gd name="T31" fmla="*/ 59 h 188"/>
                  <a:gd name="T32" fmla="*/ 77 w 164"/>
                  <a:gd name="T33" fmla="*/ 83 h 188"/>
                  <a:gd name="T34" fmla="*/ 38 w 164"/>
                  <a:gd name="T35" fmla="*/ 83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4" h="188">
                    <a:moveTo>
                      <a:pt x="113" y="113"/>
                    </a:moveTo>
                    <a:cubicBezTo>
                      <a:pt x="142" y="105"/>
                      <a:pt x="158" y="86"/>
                      <a:pt x="158" y="58"/>
                    </a:cubicBezTo>
                    <a:cubicBezTo>
                      <a:pt x="158" y="22"/>
                      <a:pt x="129" y="0"/>
                      <a:pt x="82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8" y="0"/>
                      <a:pt x="0" y="8"/>
                      <a:pt x="0" y="1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38" y="118"/>
                      <a:pt x="38" y="118"/>
                      <a:pt x="38" y="118"/>
                    </a:cubicBezTo>
                    <a:cubicBezTo>
                      <a:pt x="72" y="118"/>
                      <a:pt x="72" y="118"/>
                      <a:pt x="72" y="118"/>
                    </a:cubicBezTo>
                    <a:cubicBezTo>
                      <a:pt x="119" y="188"/>
                      <a:pt x="119" y="188"/>
                      <a:pt x="119" y="188"/>
                    </a:cubicBezTo>
                    <a:cubicBezTo>
                      <a:pt x="164" y="188"/>
                      <a:pt x="164" y="188"/>
                      <a:pt x="164" y="188"/>
                    </a:cubicBezTo>
                    <a:lnTo>
                      <a:pt x="113" y="113"/>
                    </a:lnTo>
                    <a:close/>
                    <a:moveTo>
                      <a:pt x="38" y="83"/>
                    </a:moveTo>
                    <a:cubicBezTo>
                      <a:pt x="38" y="34"/>
                      <a:pt x="38" y="34"/>
                      <a:pt x="38" y="34"/>
                    </a:cubicBezTo>
                    <a:cubicBezTo>
                      <a:pt x="85" y="34"/>
                      <a:pt x="85" y="34"/>
                      <a:pt x="85" y="34"/>
                    </a:cubicBezTo>
                    <a:cubicBezTo>
                      <a:pt x="98" y="34"/>
                      <a:pt x="118" y="38"/>
                      <a:pt x="118" y="59"/>
                    </a:cubicBezTo>
                    <a:cubicBezTo>
                      <a:pt x="118" y="69"/>
                      <a:pt x="114" y="83"/>
                      <a:pt x="77" y="83"/>
                    </a:cubicBezTo>
                    <a:lnTo>
                      <a:pt x="38" y="8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5" name="Freeform 11"/>
              <p:cNvSpPr>
                <a:spLocks/>
              </p:cNvSpPr>
              <p:nvPr/>
            </p:nvSpPr>
            <p:spPr bwMode="auto">
              <a:xfrm>
                <a:off x="738516" y="437296"/>
                <a:ext cx="25777" cy="127448"/>
              </a:xfrm>
              <a:custGeom>
                <a:avLst/>
                <a:gdLst>
                  <a:gd name="T0" fmla="*/ 0 w 38"/>
                  <a:gd name="T1" fmla="*/ 188 h 188"/>
                  <a:gd name="T2" fmla="*/ 38 w 38"/>
                  <a:gd name="T3" fmla="*/ 188 h 188"/>
                  <a:gd name="T4" fmla="*/ 38 w 38"/>
                  <a:gd name="T5" fmla="*/ 12 h 188"/>
                  <a:gd name="T6" fmla="*/ 25 w 38"/>
                  <a:gd name="T7" fmla="*/ 0 h 188"/>
                  <a:gd name="T8" fmla="*/ 13 w 38"/>
                  <a:gd name="T9" fmla="*/ 0 h 188"/>
                  <a:gd name="T10" fmla="*/ 0 w 38"/>
                  <a:gd name="T11" fmla="*/ 12 h 188"/>
                  <a:gd name="T12" fmla="*/ 0 w 38"/>
                  <a:gd name="T13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" h="188">
                    <a:moveTo>
                      <a:pt x="0" y="188"/>
                    </a:moveTo>
                    <a:cubicBezTo>
                      <a:pt x="38" y="188"/>
                      <a:pt x="38" y="188"/>
                      <a:pt x="38" y="188"/>
                    </a:cubicBezTo>
                    <a:cubicBezTo>
                      <a:pt x="38" y="12"/>
                      <a:pt x="38" y="12"/>
                      <a:pt x="38" y="12"/>
                    </a:cubicBezTo>
                    <a:cubicBezTo>
                      <a:pt x="38" y="5"/>
                      <a:pt x="32" y="0"/>
                      <a:pt x="25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0" y="5"/>
                      <a:pt x="0" y="12"/>
                    </a:cubicBezTo>
                    <a:lnTo>
                      <a:pt x="0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6" name="Freeform 12"/>
              <p:cNvSpPr>
                <a:spLocks/>
              </p:cNvSpPr>
              <p:nvPr/>
            </p:nvSpPr>
            <p:spPr bwMode="auto">
              <a:xfrm>
                <a:off x="1217394" y="437296"/>
                <a:ext cx="118001" cy="127448"/>
              </a:xfrm>
              <a:custGeom>
                <a:avLst/>
                <a:gdLst>
                  <a:gd name="T0" fmla="*/ 174 w 174"/>
                  <a:gd name="T1" fmla="*/ 188 h 188"/>
                  <a:gd name="T2" fmla="*/ 137 w 174"/>
                  <a:gd name="T3" fmla="*/ 188 h 188"/>
                  <a:gd name="T4" fmla="*/ 137 w 174"/>
                  <a:gd name="T5" fmla="*/ 110 h 188"/>
                  <a:gd name="T6" fmla="*/ 38 w 174"/>
                  <a:gd name="T7" fmla="*/ 110 h 188"/>
                  <a:gd name="T8" fmla="*/ 38 w 174"/>
                  <a:gd name="T9" fmla="*/ 188 h 188"/>
                  <a:gd name="T10" fmla="*/ 0 w 174"/>
                  <a:gd name="T11" fmla="*/ 188 h 188"/>
                  <a:gd name="T12" fmla="*/ 0 w 174"/>
                  <a:gd name="T13" fmla="*/ 12 h 188"/>
                  <a:gd name="T14" fmla="*/ 13 w 174"/>
                  <a:gd name="T15" fmla="*/ 0 h 188"/>
                  <a:gd name="T16" fmla="*/ 25 w 174"/>
                  <a:gd name="T17" fmla="*/ 0 h 188"/>
                  <a:gd name="T18" fmla="*/ 38 w 174"/>
                  <a:gd name="T19" fmla="*/ 12 h 188"/>
                  <a:gd name="T20" fmla="*/ 38 w 174"/>
                  <a:gd name="T21" fmla="*/ 75 h 188"/>
                  <a:gd name="T22" fmla="*/ 137 w 174"/>
                  <a:gd name="T23" fmla="*/ 75 h 188"/>
                  <a:gd name="T24" fmla="*/ 137 w 174"/>
                  <a:gd name="T25" fmla="*/ 12 h 188"/>
                  <a:gd name="T26" fmla="*/ 149 w 174"/>
                  <a:gd name="T27" fmla="*/ 0 h 188"/>
                  <a:gd name="T28" fmla="*/ 162 w 174"/>
                  <a:gd name="T29" fmla="*/ 0 h 188"/>
                  <a:gd name="T30" fmla="*/ 174 w 174"/>
                  <a:gd name="T31" fmla="*/ 12 h 188"/>
                  <a:gd name="T32" fmla="*/ 174 w 174"/>
                  <a:gd name="T33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4" h="188">
                    <a:moveTo>
                      <a:pt x="174" y="188"/>
                    </a:moveTo>
                    <a:cubicBezTo>
                      <a:pt x="137" y="188"/>
                      <a:pt x="137" y="188"/>
                      <a:pt x="137" y="188"/>
                    </a:cubicBezTo>
                    <a:cubicBezTo>
                      <a:pt x="137" y="110"/>
                      <a:pt x="137" y="110"/>
                      <a:pt x="137" y="110"/>
                    </a:cubicBezTo>
                    <a:cubicBezTo>
                      <a:pt x="38" y="110"/>
                      <a:pt x="38" y="110"/>
                      <a:pt x="38" y="110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6" y="0"/>
                      <a:pt x="13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32" y="0"/>
                      <a:pt x="38" y="5"/>
                      <a:pt x="38" y="12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137" y="75"/>
                      <a:pt x="137" y="75"/>
                      <a:pt x="137" y="75"/>
                    </a:cubicBezTo>
                    <a:cubicBezTo>
                      <a:pt x="137" y="12"/>
                      <a:pt x="137" y="12"/>
                      <a:pt x="137" y="12"/>
                    </a:cubicBezTo>
                    <a:cubicBezTo>
                      <a:pt x="137" y="5"/>
                      <a:pt x="142" y="0"/>
                      <a:pt x="149" y="0"/>
                    </a:cubicBezTo>
                    <a:cubicBezTo>
                      <a:pt x="162" y="0"/>
                      <a:pt x="162" y="0"/>
                      <a:pt x="162" y="0"/>
                    </a:cubicBezTo>
                    <a:cubicBezTo>
                      <a:pt x="169" y="0"/>
                      <a:pt x="174" y="5"/>
                      <a:pt x="174" y="12"/>
                    </a:cubicBezTo>
                    <a:lnTo>
                      <a:pt x="174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7" name="Freeform 13"/>
              <p:cNvSpPr>
                <a:spLocks/>
              </p:cNvSpPr>
              <p:nvPr/>
            </p:nvSpPr>
            <p:spPr bwMode="auto">
              <a:xfrm>
                <a:off x="1085646" y="435864"/>
                <a:ext cx="108836" cy="130025"/>
              </a:xfrm>
              <a:custGeom>
                <a:avLst/>
                <a:gdLst>
                  <a:gd name="T0" fmla="*/ 90 w 161"/>
                  <a:gd name="T1" fmla="*/ 78 h 192"/>
                  <a:gd name="T2" fmla="*/ 46 w 161"/>
                  <a:gd name="T3" fmla="*/ 56 h 192"/>
                  <a:gd name="T4" fmla="*/ 83 w 161"/>
                  <a:gd name="T5" fmla="*/ 36 h 192"/>
                  <a:gd name="T6" fmla="*/ 139 w 161"/>
                  <a:gd name="T7" fmla="*/ 49 h 192"/>
                  <a:gd name="T8" fmla="*/ 140 w 161"/>
                  <a:gd name="T9" fmla="*/ 49 h 192"/>
                  <a:gd name="T10" fmla="*/ 145 w 161"/>
                  <a:gd name="T11" fmla="*/ 47 h 192"/>
                  <a:gd name="T12" fmla="*/ 156 w 161"/>
                  <a:gd name="T13" fmla="*/ 25 h 192"/>
                  <a:gd name="T14" fmla="*/ 156 w 161"/>
                  <a:gd name="T15" fmla="*/ 23 h 192"/>
                  <a:gd name="T16" fmla="*/ 153 w 161"/>
                  <a:gd name="T17" fmla="*/ 18 h 192"/>
                  <a:gd name="T18" fmla="*/ 152 w 161"/>
                  <a:gd name="T19" fmla="*/ 17 h 192"/>
                  <a:gd name="T20" fmla="*/ 81 w 161"/>
                  <a:gd name="T21" fmla="*/ 0 h 192"/>
                  <a:gd name="T22" fmla="*/ 7 w 161"/>
                  <a:gd name="T23" fmla="*/ 57 h 192"/>
                  <a:gd name="T24" fmla="*/ 25 w 161"/>
                  <a:gd name="T25" fmla="*/ 96 h 192"/>
                  <a:gd name="T26" fmla="*/ 80 w 161"/>
                  <a:gd name="T27" fmla="*/ 113 h 192"/>
                  <a:gd name="T28" fmla="*/ 122 w 161"/>
                  <a:gd name="T29" fmla="*/ 133 h 192"/>
                  <a:gd name="T30" fmla="*/ 78 w 161"/>
                  <a:gd name="T31" fmla="*/ 157 h 192"/>
                  <a:gd name="T32" fmla="*/ 22 w 161"/>
                  <a:gd name="T33" fmla="*/ 142 h 192"/>
                  <a:gd name="T34" fmla="*/ 18 w 161"/>
                  <a:gd name="T35" fmla="*/ 139 h 192"/>
                  <a:gd name="T36" fmla="*/ 15 w 161"/>
                  <a:gd name="T37" fmla="*/ 143 h 192"/>
                  <a:gd name="T38" fmla="*/ 2 w 161"/>
                  <a:gd name="T39" fmla="*/ 166 h 192"/>
                  <a:gd name="T40" fmla="*/ 0 w 161"/>
                  <a:gd name="T41" fmla="*/ 170 h 192"/>
                  <a:gd name="T42" fmla="*/ 4 w 161"/>
                  <a:gd name="T43" fmla="*/ 172 h 192"/>
                  <a:gd name="T44" fmla="*/ 77 w 161"/>
                  <a:gd name="T45" fmla="*/ 192 h 192"/>
                  <a:gd name="T46" fmla="*/ 161 w 161"/>
                  <a:gd name="T47" fmla="*/ 132 h 192"/>
                  <a:gd name="T48" fmla="*/ 90 w 161"/>
                  <a:gd name="T49" fmla="*/ 78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61" h="192">
                    <a:moveTo>
                      <a:pt x="90" y="78"/>
                    </a:moveTo>
                    <a:cubicBezTo>
                      <a:pt x="63" y="74"/>
                      <a:pt x="46" y="71"/>
                      <a:pt x="46" y="56"/>
                    </a:cubicBezTo>
                    <a:cubicBezTo>
                      <a:pt x="46" y="43"/>
                      <a:pt x="60" y="36"/>
                      <a:pt x="83" y="36"/>
                    </a:cubicBezTo>
                    <a:cubicBezTo>
                      <a:pt x="109" y="36"/>
                      <a:pt x="130" y="45"/>
                      <a:pt x="139" y="49"/>
                    </a:cubicBezTo>
                    <a:cubicBezTo>
                      <a:pt x="139" y="49"/>
                      <a:pt x="139" y="49"/>
                      <a:pt x="140" y="49"/>
                    </a:cubicBezTo>
                    <a:cubicBezTo>
                      <a:pt x="142" y="49"/>
                      <a:pt x="144" y="49"/>
                      <a:pt x="145" y="47"/>
                    </a:cubicBezTo>
                    <a:cubicBezTo>
                      <a:pt x="156" y="25"/>
                      <a:pt x="156" y="25"/>
                      <a:pt x="156" y="25"/>
                    </a:cubicBezTo>
                    <a:cubicBezTo>
                      <a:pt x="156" y="24"/>
                      <a:pt x="156" y="23"/>
                      <a:pt x="156" y="23"/>
                    </a:cubicBezTo>
                    <a:cubicBezTo>
                      <a:pt x="156" y="21"/>
                      <a:pt x="155" y="19"/>
                      <a:pt x="153" y="18"/>
                    </a:cubicBezTo>
                    <a:cubicBezTo>
                      <a:pt x="152" y="17"/>
                      <a:pt x="152" y="17"/>
                      <a:pt x="152" y="17"/>
                    </a:cubicBezTo>
                    <a:cubicBezTo>
                      <a:pt x="133" y="7"/>
                      <a:pt x="106" y="0"/>
                      <a:pt x="81" y="0"/>
                    </a:cubicBezTo>
                    <a:cubicBezTo>
                      <a:pt x="35" y="0"/>
                      <a:pt x="7" y="22"/>
                      <a:pt x="7" y="57"/>
                    </a:cubicBezTo>
                    <a:cubicBezTo>
                      <a:pt x="7" y="75"/>
                      <a:pt x="13" y="87"/>
                      <a:pt x="25" y="96"/>
                    </a:cubicBezTo>
                    <a:cubicBezTo>
                      <a:pt x="40" y="107"/>
                      <a:pt x="61" y="110"/>
                      <a:pt x="80" y="113"/>
                    </a:cubicBezTo>
                    <a:cubicBezTo>
                      <a:pt x="106" y="117"/>
                      <a:pt x="122" y="119"/>
                      <a:pt x="122" y="133"/>
                    </a:cubicBezTo>
                    <a:cubicBezTo>
                      <a:pt x="122" y="155"/>
                      <a:pt x="91" y="157"/>
                      <a:pt x="78" y="157"/>
                    </a:cubicBezTo>
                    <a:cubicBezTo>
                      <a:pt x="57" y="157"/>
                      <a:pt x="38" y="152"/>
                      <a:pt x="22" y="142"/>
                    </a:cubicBezTo>
                    <a:cubicBezTo>
                      <a:pt x="18" y="139"/>
                      <a:pt x="18" y="139"/>
                      <a:pt x="18" y="139"/>
                    </a:cubicBezTo>
                    <a:cubicBezTo>
                      <a:pt x="15" y="143"/>
                      <a:pt x="15" y="143"/>
                      <a:pt x="15" y="143"/>
                    </a:cubicBezTo>
                    <a:cubicBezTo>
                      <a:pt x="2" y="166"/>
                      <a:pt x="2" y="166"/>
                      <a:pt x="2" y="166"/>
                    </a:cubicBezTo>
                    <a:cubicBezTo>
                      <a:pt x="0" y="170"/>
                      <a:pt x="0" y="170"/>
                      <a:pt x="0" y="170"/>
                    </a:cubicBezTo>
                    <a:cubicBezTo>
                      <a:pt x="4" y="172"/>
                      <a:pt x="4" y="172"/>
                      <a:pt x="4" y="172"/>
                    </a:cubicBezTo>
                    <a:cubicBezTo>
                      <a:pt x="18" y="181"/>
                      <a:pt x="42" y="192"/>
                      <a:pt x="77" y="192"/>
                    </a:cubicBezTo>
                    <a:cubicBezTo>
                      <a:pt x="128" y="192"/>
                      <a:pt x="161" y="169"/>
                      <a:pt x="161" y="132"/>
                    </a:cubicBezTo>
                    <a:cubicBezTo>
                      <a:pt x="161" y="88"/>
                      <a:pt x="122" y="82"/>
                      <a:pt x="90" y="7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8" name="Freeform 14"/>
              <p:cNvSpPr>
                <a:spLocks/>
              </p:cNvSpPr>
              <p:nvPr/>
            </p:nvSpPr>
            <p:spPr bwMode="auto">
              <a:xfrm>
                <a:off x="1642427" y="437296"/>
                <a:ext cx="93943" cy="127448"/>
              </a:xfrm>
              <a:custGeom>
                <a:avLst/>
                <a:gdLst>
                  <a:gd name="T0" fmla="*/ 128 w 139"/>
                  <a:gd name="T1" fmla="*/ 103 h 188"/>
                  <a:gd name="T2" fmla="*/ 121 w 139"/>
                  <a:gd name="T3" fmla="*/ 110 h 188"/>
                  <a:gd name="T4" fmla="*/ 38 w 139"/>
                  <a:gd name="T5" fmla="*/ 110 h 188"/>
                  <a:gd name="T6" fmla="*/ 38 w 139"/>
                  <a:gd name="T7" fmla="*/ 153 h 188"/>
                  <a:gd name="T8" fmla="*/ 139 w 139"/>
                  <a:gd name="T9" fmla="*/ 153 h 188"/>
                  <a:gd name="T10" fmla="*/ 139 w 139"/>
                  <a:gd name="T11" fmla="*/ 188 h 188"/>
                  <a:gd name="T12" fmla="*/ 0 w 139"/>
                  <a:gd name="T13" fmla="*/ 188 h 188"/>
                  <a:gd name="T14" fmla="*/ 0 w 139"/>
                  <a:gd name="T15" fmla="*/ 18 h 188"/>
                  <a:gd name="T16" fmla="*/ 19 w 139"/>
                  <a:gd name="T17" fmla="*/ 0 h 188"/>
                  <a:gd name="T18" fmla="*/ 130 w 139"/>
                  <a:gd name="T19" fmla="*/ 0 h 188"/>
                  <a:gd name="T20" fmla="*/ 137 w 139"/>
                  <a:gd name="T21" fmla="*/ 6 h 188"/>
                  <a:gd name="T22" fmla="*/ 137 w 139"/>
                  <a:gd name="T23" fmla="*/ 27 h 188"/>
                  <a:gd name="T24" fmla="*/ 130 w 139"/>
                  <a:gd name="T25" fmla="*/ 34 h 188"/>
                  <a:gd name="T26" fmla="*/ 38 w 139"/>
                  <a:gd name="T27" fmla="*/ 34 h 188"/>
                  <a:gd name="T28" fmla="*/ 38 w 139"/>
                  <a:gd name="T29" fmla="*/ 75 h 188"/>
                  <a:gd name="T30" fmla="*/ 121 w 139"/>
                  <a:gd name="T31" fmla="*/ 75 h 188"/>
                  <a:gd name="T32" fmla="*/ 128 w 139"/>
                  <a:gd name="T33" fmla="*/ 82 h 188"/>
                  <a:gd name="T34" fmla="*/ 128 w 139"/>
                  <a:gd name="T35" fmla="*/ 103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9" h="188">
                    <a:moveTo>
                      <a:pt x="128" y="103"/>
                    </a:moveTo>
                    <a:cubicBezTo>
                      <a:pt x="128" y="107"/>
                      <a:pt x="124" y="110"/>
                      <a:pt x="121" y="110"/>
                    </a:cubicBezTo>
                    <a:cubicBezTo>
                      <a:pt x="38" y="110"/>
                      <a:pt x="38" y="110"/>
                      <a:pt x="38" y="110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139" y="153"/>
                      <a:pt x="139" y="153"/>
                      <a:pt x="139" y="153"/>
                    </a:cubicBezTo>
                    <a:cubicBezTo>
                      <a:pt x="139" y="188"/>
                      <a:pt x="139" y="188"/>
                      <a:pt x="139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9" y="0"/>
                      <a:pt x="19" y="0"/>
                    </a:cubicBezTo>
                    <a:cubicBezTo>
                      <a:pt x="130" y="0"/>
                      <a:pt x="130" y="0"/>
                      <a:pt x="130" y="0"/>
                    </a:cubicBezTo>
                    <a:cubicBezTo>
                      <a:pt x="134" y="0"/>
                      <a:pt x="137" y="2"/>
                      <a:pt x="137" y="6"/>
                    </a:cubicBezTo>
                    <a:cubicBezTo>
                      <a:pt x="137" y="27"/>
                      <a:pt x="137" y="27"/>
                      <a:pt x="137" y="27"/>
                    </a:cubicBezTo>
                    <a:cubicBezTo>
                      <a:pt x="137" y="32"/>
                      <a:pt x="134" y="34"/>
                      <a:pt x="130" y="34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121" y="75"/>
                      <a:pt x="121" y="75"/>
                      <a:pt x="121" y="75"/>
                    </a:cubicBezTo>
                    <a:cubicBezTo>
                      <a:pt x="124" y="75"/>
                      <a:pt x="128" y="77"/>
                      <a:pt x="128" y="82"/>
                    </a:cubicBezTo>
                    <a:lnTo>
                      <a:pt x="128" y="10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</p:grpSp>
      </p:grp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>
          <a:xfrm>
            <a:off x="2502568" y="1424539"/>
            <a:ext cx="6282657" cy="1583356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2800" cap="all" baseline="0"/>
            </a:lvl1pPr>
          </a:lstStyle>
          <a:p>
            <a:r>
              <a:rPr lang="en-GB" dirty="0"/>
              <a:t>MINDSHARE Presentation title</a:t>
            </a:r>
          </a:p>
        </p:txBody>
      </p:sp>
      <p:sp>
        <p:nvSpPr>
          <p:cNvPr id="2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497138" y="3194050"/>
            <a:ext cx="6281737" cy="704850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400" b="1" cap="none" baseline="0">
                <a:solidFill>
                  <a:schemeClr val="tx2"/>
                </a:solidFill>
              </a:defRPr>
            </a:lvl1pPr>
            <a:lvl2pPr marL="457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ubtitle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358546" y="1223963"/>
            <a:ext cx="1960792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2485058" y="3016973"/>
            <a:ext cx="63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 userDrawn="1"/>
        </p:nvCxnSpPr>
        <p:spPr>
          <a:xfrm>
            <a:off x="2497138" y="1223963"/>
            <a:ext cx="628792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573927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Height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2497138" y="5556"/>
            <a:ext cx="6646862" cy="513794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2503407" y="0"/>
            <a:ext cx="6640593" cy="5143501"/>
          </a:xfrm>
        </p:spPr>
        <p:txBody>
          <a:bodyPr anchor="ctr"/>
          <a:lstStyle>
            <a:lvl1pPr algn="ctr">
              <a:defRPr sz="1000" b="0" baseline="0"/>
            </a:lvl1pPr>
          </a:lstStyle>
          <a:p>
            <a:r>
              <a:rPr lang="en-GB"/>
              <a:t>Drag &amp; drop image here or delete to place other conten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775" y="3191943"/>
            <a:ext cx="1963617" cy="1595958"/>
          </a:xfrm>
        </p:spPr>
        <p:txBody>
          <a:bodyPr anchor="b"/>
          <a:lstStyle>
            <a:lvl1pPr>
              <a:lnSpc>
                <a:spcPct val="90000"/>
              </a:lnSpc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4664075" y="4555404"/>
            <a:ext cx="4121150" cy="232496"/>
          </a:xfrm>
        </p:spPr>
        <p:txBody>
          <a:bodyPr anchor="b"/>
          <a:lstStyle>
            <a:lvl1pPr algn="r">
              <a:spcBef>
                <a:spcPts val="0"/>
              </a:spcBef>
              <a:defRPr sz="700" b="0"/>
            </a:lvl1pPr>
          </a:lstStyle>
          <a:p>
            <a:pPr lvl="0"/>
            <a:r>
              <a:rPr lang="en-US" dirty="0"/>
              <a:t>Source: enter text here</a:t>
            </a:r>
          </a:p>
        </p:txBody>
      </p:sp>
    </p:spTree>
    <p:extLst>
      <p:ext uri="{BB962C8B-B14F-4D97-AF65-F5344CB8AC3E}">
        <p14:creationId xmlns:p14="http://schemas.microsoft.com/office/powerpoint/2010/main" val="277309974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304638" y="3194050"/>
            <a:ext cx="6543726" cy="885825"/>
          </a:xfrm>
        </p:spPr>
        <p:txBody>
          <a:bodyPr anchor="t"/>
          <a:lstStyle>
            <a:lvl1pPr marL="0" indent="0" algn="ctr">
              <a:buNone/>
              <a:defRPr sz="1400" cap="none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ection or Chapte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68300" y="1412875"/>
            <a:ext cx="8416925" cy="1593850"/>
          </a:xfrm>
        </p:spPr>
        <p:txBody>
          <a:bodyPr anchor="ctr"/>
          <a:lstStyle>
            <a:lvl1pPr algn="ctr">
              <a:lnSpc>
                <a:spcPct val="100000"/>
              </a:lnSpc>
              <a:defRPr sz="4000" baseline="0"/>
            </a:lvl1pPr>
          </a:lstStyle>
          <a:p>
            <a:pPr lvl="0"/>
            <a:r>
              <a:rPr lang="en-GB" dirty="0"/>
              <a:t>Intro slide with sub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42903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3" name="Straight Connector 22"/>
          <p:cNvCxnSpPr/>
          <p:nvPr userDrawn="1"/>
        </p:nvCxnSpPr>
        <p:spPr>
          <a:xfrm>
            <a:off x="367777" y="4787900"/>
            <a:ext cx="8417448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58776" y="4079875"/>
            <a:ext cx="8426450" cy="602656"/>
          </a:xfrm>
        </p:spPr>
        <p:txBody>
          <a:bodyPr anchor="b"/>
          <a:lstStyle>
            <a:lvl1pPr marL="0" indent="0" algn="r">
              <a:buNone/>
              <a:defRPr sz="1200" i="1" cap="none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- Click to edit Master text styles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68300" y="1412875"/>
            <a:ext cx="8416925" cy="1593850"/>
          </a:xfrm>
        </p:spPr>
        <p:txBody>
          <a:bodyPr anchor="ctr"/>
          <a:lstStyle>
            <a:lvl1pPr algn="ctr">
              <a:lnSpc>
                <a:spcPct val="100000"/>
              </a:lnSpc>
              <a:defRPr sz="4000" baseline="0"/>
            </a:lvl1pPr>
          </a:lstStyle>
          <a:p>
            <a:pPr lvl="0"/>
            <a:r>
              <a:rPr lang="en-GB" dirty="0"/>
              <a:t>“Quotation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03418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He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2497138" y="5556"/>
            <a:ext cx="6646862" cy="513794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972" y="520093"/>
            <a:ext cx="1963562" cy="70387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2503407" y="0"/>
            <a:ext cx="6640593" cy="5143501"/>
          </a:xfrm>
        </p:spPr>
        <p:txBody>
          <a:bodyPr anchor="ctr"/>
          <a:lstStyle>
            <a:lvl1pPr algn="ctr">
              <a:defRPr sz="1000" b="0" baseline="0"/>
            </a:lvl1pPr>
          </a:lstStyle>
          <a:p>
            <a:r>
              <a:rPr lang="en-GB"/>
              <a:t>Drag &amp; drop image here or delete to place other content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61972" y="4566949"/>
            <a:ext cx="1957293" cy="220951"/>
          </a:xfrm>
        </p:spPr>
        <p:txBody>
          <a:bodyPr anchor="b"/>
          <a:lstStyle>
            <a:lvl1pPr>
              <a:spcBef>
                <a:spcPts val="0"/>
              </a:spcBef>
              <a:defRPr sz="700" b="0"/>
            </a:lvl1pPr>
          </a:lstStyle>
          <a:p>
            <a:pPr lvl="0"/>
            <a:r>
              <a:rPr lang="en-US" dirty="0"/>
              <a:t>Source: enter text her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361972" y="1223964"/>
            <a:ext cx="1957293" cy="2855912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224721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Height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2497138" y="5556"/>
            <a:ext cx="6646862" cy="513794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2503407" y="0"/>
            <a:ext cx="6640593" cy="5143501"/>
          </a:xfrm>
        </p:spPr>
        <p:txBody>
          <a:bodyPr anchor="ctr"/>
          <a:lstStyle>
            <a:lvl1pPr algn="ctr">
              <a:defRPr sz="1000" b="0" baseline="0"/>
            </a:lvl1pPr>
          </a:lstStyle>
          <a:p>
            <a:r>
              <a:rPr lang="en-GB"/>
              <a:t>Drag &amp; drop image here or delete to place other conten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775" y="3191943"/>
            <a:ext cx="1963617" cy="1595958"/>
          </a:xfrm>
        </p:spPr>
        <p:txBody>
          <a:bodyPr anchor="b"/>
          <a:lstStyle>
            <a:lvl1pPr>
              <a:lnSpc>
                <a:spcPct val="90000"/>
              </a:lnSpc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4664075" y="4555404"/>
            <a:ext cx="4121150" cy="232496"/>
          </a:xfrm>
        </p:spPr>
        <p:txBody>
          <a:bodyPr anchor="b"/>
          <a:lstStyle>
            <a:lvl1pPr algn="r">
              <a:spcBef>
                <a:spcPts val="0"/>
              </a:spcBef>
              <a:defRPr sz="700" b="0"/>
            </a:lvl1pPr>
          </a:lstStyle>
          <a:p>
            <a:pPr lvl="0"/>
            <a:r>
              <a:rPr lang="en-US" dirty="0"/>
              <a:t>Source: enter text here</a:t>
            </a:r>
          </a:p>
        </p:txBody>
      </p:sp>
    </p:spTree>
    <p:extLst>
      <p:ext uri="{BB962C8B-B14F-4D97-AF65-F5344CB8AC3E}">
        <p14:creationId xmlns:p14="http://schemas.microsoft.com/office/powerpoint/2010/main" val="62122072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1"/>
            <a:ext cx="9144000" cy="2950882"/>
          </a:xfrm>
          <a:prstGeom prst="rect">
            <a:avLst/>
          </a:prstGeom>
          <a:solidFill>
            <a:schemeClr val="tx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9142413" cy="2947988"/>
          </a:xfrm>
          <a:noFill/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chemeClr val="bg2"/>
                </a:solidFill>
              </a:defRPr>
            </a:lvl1pPr>
          </a:lstStyle>
          <a:p>
            <a:r>
              <a:rPr lang="en-GB"/>
              <a:t>Drag &amp; drop to place image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358775" y="356107"/>
            <a:ext cx="1960563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0" name="Text Placeholder 28"/>
          <p:cNvSpPr>
            <a:spLocks noGrp="1"/>
          </p:cNvSpPr>
          <p:nvPr>
            <p:ph type="body" sz="quarter" idx="22"/>
          </p:nvPr>
        </p:nvSpPr>
        <p:spPr>
          <a:xfrm>
            <a:off x="358775" y="3194050"/>
            <a:ext cx="2522116" cy="1371206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1" name="Text Placeholder 28"/>
          <p:cNvSpPr>
            <a:spLocks noGrp="1"/>
          </p:cNvSpPr>
          <p:nvPr>
            <p:ph type="body" sz="quarter" idx="23"/>
          </p:nvPr>
        </p:nvSpPr>
        <p:spPr>
          <a:xfrm>
            <a:off x="3097653" y="3196312"/>
            <a:ext cx="2735405" cy="1371206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2" name="Text Placeholder 28"/>
          <p:cNvSpPr>
            <a:spLocks noGrp="1"/>
          </p:cNvSpPr>
          <p:nvPr>
            <p:ph type="body" sz="quarter" idx="24"/>
          </p:nvPr>
        </p:nvSpPr>
        <p:spPr>
          <a:xfrm>
            <a:off x="6049820" y="3194050"/>
            <a:ext cx="2735405" cy="1371206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5" name="Text Placeholder 14"/>
          <p:cNvSpPr>
            <a:spLocks noGrp="1"/>
          </p:cNvSpPr>
          <p:nvPr>
            <p:ph type="body" sz="quarter" idx="25" hasCustomPrompt="1"/>
          </p:nvPr>
        </p:nvSpPr>
        <p:spPr>
          <a:xfrm>
            <a:off x="4664075" y="4570413"/>
            <a:ext cx="4125412" cy="215225"/>
          </a:xfrm>
        </p:spPr>
        <p:txBody>
          <a:bodyPr anchor="b"/>
          <a:lstStyle>
            <a:lvl1pPr algn="r">
              <a:spcBef>
                <a:spcPts val="0"/>
              </a:spcBef>
              <a:defRPr sz="7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Source: enter text here</a:t>
            </a:r>
          </a:p>
        </p:txBody>
      </p:sp>
      <p:sp>
        <p:nvSpPr>
          <p:cNvPr id="36" name="Text Placeholder 28"/>
          <p:cNvSpPr>
            <a:spLocks noGrp="1"/>
          </p:cNvSpPr>
          <p:nvPr>
            <p:ph type="body" sz="quarter" idx="26"/>
          </p:nvPr>
        </p:nvSpPr>
        <p:spPr>
          <a:xfrm>
            <a:off x="6632575" y="1222547"/>
            <a:ext cx="2152650" cy="1074566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50394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 &amp;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365379" y="1223964"/>
            <a:ext cx="2698798" cy="17827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425" y="519113"/>
            <a:ext cx="8421286" cy="56913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24" hasCustomPrompt="1"/>
          </p:nvPr>
        </p:nvSpPr>
        <p:spPr>
          <a:xfrm>
            <a:off x="4664075" y="4570413"/>
            <a:ext cx="4125412" cy="215225"/>
          </a:xfrm>
        </p:spPr>
        <p:txBody>
          <a:bodyPr anchor="b"/>
          <a:lstStyle>
            <a:lvl1pPr algn="r">
              <a:spcBef>
                <a:spcPts val="0"/>
              </a:spcBef>
              <a:defRPr sz="700" b="0"/>
            </a:lvl1pPr>
          </a:lstStyle>
          <a:p>
            <a:pPr lvl="0"/>
            <a:r>
              <a:rPr lang="en-US" dirty="0"/>
              <a:t>Source: enter text here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28"/>
          </p:nvPr>
        </p:nvSpPr>
        <p:spPr>
          <a:xfrm>
            <a:off x="360363" y="3194050"/>
            <a:ext cx="2703814" cy="137636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29"/>
          </p:nvPr>
        </p:nvSpPr>
        <p:spPr>
          <a:xfrm>
            <a:off x="3219066" y="3194050"/>
            <a:ext cx="2703814" cy="137636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0"/>
          </p:nvPr>
        </p:nvSpPr>
        <p:spPr>
          <a:xfrm>
            <a:off x="6077769" y="3194050"/>
            <a:ext cx="2703814" cy="137636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9" name="Picture Placeholder 6"/>
          <p:cNvSpPr>
            <a:spLocks noGrp="1"/>
          </p:cNvSpPr>
          <p:nvPr>
            <p:ph type="pic" sz="quarter" idx="31" hasCustomPrompt="1"/>
          </p:nvPr>
        </p:nvSpPr>
        <p:spPr>
          <a:xfrm>
            <a:off x="357128" y="1223960"/>
            <a:ext cx="2707049" cy="1782765"/>
          </a:xfrm>
          <a:noFill/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  <p:sp>
        <p:nvSpPr>
          <p:cNvPr id="31" name="Rectangle 30"/>
          <p:cNvSpPr/>
          <p:nvPr userDrawn="1"/>
        </p:nvSpPr>
        <p:spPr>
          <a:xfrm>
            <a:off x="3233708" y="1223964"/>
            <a:ext cx="2698798" cy="17827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Picture Placeholder 6"/>
          <p:cNvSpPr>
            <a:spLocks noGrp="1"/>
          </p:cNvSpPr>
          <p:nvPr>
            <p:ph type="pic" sz="quarter" idx="32" hasCustomPrompt="1"/>
          </p:nvPr>
        </p:nvSpPr>
        <p:spPr>
          <a:xfrm>
            <a:off x="3225457" y="1223960"/>
            <a:ext cx="2707049" cy="1782765"/>
          </a:xfrm>
          <a:noFill/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  <p:sp>
        <p:nvSpPr>
          <p:cNvPr id="33" name="Rectangle 32"/>
          <p:cNvSpPr/>
          <p:nvPr userDrawn="1"/>
        </p:nvSpPr>
        <p:spPr>
          <a:xfrm>
            <a:off x="6082786" y="1223964"/>
            <a:ext cx="2698798" cy="17827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Picture Placeholder 6"/>
          <p:cNvSpPr>
            <a:spLocks noGrp="1"/>
          </p:cNvSpPr>
          <p:nvPr>
            <p:ph type="pic" sz="quarter" idx="33" hasCustomPrompt="1"/>
          </p:nvPr>
        </p:nvSpPr>
        <p:spPr>
          <a:xfrm>
            <a:off x="6074535" y="1223960"/>
            <a:ext cx="2707049" cy="1782765"/>
          </a:xfrm>
          <a:noFill/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</p:spTree>
    <p:extLst>
      <p:ext uri="{BB962C8B-B14F-4D97-AF65-F5344CB8AC3E}">
        <p14:creationId xmlns:p14="http://schemas.microsoft.com/office/powerpoint/2010/main" val="27054330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s &amp;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61425" y="519113"/>
            <a:ext cx="8421286" cy="70484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365378" y="1223963"/>
            <a:ext cx="4096624" cy="26749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8"/>
          </p:nvPr>
        </p:nvSpPr>
        <p:spPr>
          <a:xfrm>
            <a:off x="360363" y="4079875"/>
            <a:ext cx="4103687" cy="706438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  <a:endParaRPr lang="en-US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9"/>
          </p:nvPr>
        </p:nvSpPr>
        <p:spPr>
          <a:xfrm>
            <a:off x="4667668" y="4079875"/>
            <a:ext cx="4117557" cy="706438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  <a:endParaRPr lang="en-US" dirty="0"/>
          </a:p>
        </p:txBody>
      </p:sp>
      <p:sp>
        <p:nvSpPr>
          <p:cNvPr id="20" name="Picture Placeholder 6"/>
          <p:cNvSpPr>
            <a:spLocks noGrp="1"/>
          </p:cNvSpPr>
          <p:nvPr>
            <p:ph type="pic" sz="quarter" idx="30" hasCustomPrompt="1"/>
          </p:nvPr>
        </p:nvSpPr>
        <p:spPr>
          <a:xfrm>
            <a:off x="357128" y="1223960"/>
            <a:ext cx="4106922" cy="2674939"/>
          </a:xfrm>
          <a:noFill/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4670521" y="1223963"/>
            <a:ext cx="4112616" cy="26749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Picture Placeholder 6"/>
          <p:cNvSpPr>
            <a:spLocks noGrp="1"/>
          </p:cNvSpPr>
          <p:nvPr>
            <p:ph type="pic" sz="quarter" idx="31" hasCustomPrompt="1"/>
          </p:nvPr>
        </p:nvSpPr>
        <p:spPr>
          <a:xfrm>
            <a:off x="4662271" y="1223960"/>
            <a:ext cx="4122954" cy="2674939"/>
          </a:xfrm>
          <a:noFill/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</p:spTree>
    <p:extLst>
      <p:ext uri="{BB962C8B-B14F-4D97-AF65-F5344CB8AC3E}">
        <p14:creationId xmlns:p14="http://schemas.microsoft.com/office/powerpoint/2010/main" val="30770440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image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2497137" y="339727"/>
            <a:ext cx="1966913" cy="21241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6" hasCustomPrompt="1"/>
          </p:nvPr>
        </p:nvSpPr>
        <p:spPr>
          <a:xfrm>
            <a:off x="2496935" y="340910"/>
            <a:ext cx="1967115" cy="212282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362045" y="1225138"/>
            <a:ext cx="1957293" cy="28547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361972" y="520093"/>
            <a:ext cx="1963562" cy="70387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61972" y="4566949"/>
            <a:ext cx="1957293" cy="220951"/>
          </a:xfrm>
        </p:spPr>
        <p:txBody>
          <a:bodyPr anchor="b"/>
          <a:lstStyle>
            <a:lvl1pPr>
              <a:spcBef>
                <a:spcPts val="0"/>
              </a:spcBef>
              <a:defRPr sz="700" b="0"/>
            </a:lvl1pPr>
          </a:lstStyle>
          <a:p>
            <a:pPr lvl="0"/>
            <a:r>
              <a:rPr lang="en-US" dirty="0"/>
              <a:t>Source: enter text here</a:t>
            </a:r>
          </a:p>
        </p:txBody>
      </p:sp>
      <p:sp>
        <p:nvSpPr>
          <p:cNvPr id="27" name="Rectangle 26"/>
          <p:cNvSpPr/>
          <p:nvPr userDrawn="1"/>
        </p:nvSpPr>
        <p:spPr>
          <a:xfrm>
            <a:off x="4667634" y="339727"/>
            <a:ext cx="1966913" cy="21241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Picture Placeholder 6"/>
          <p:cNvSpPr>
            <a:spLocks noGrp="1"/>
          </p:cNvSpPr>
          <p:nvPr>
            <p:ph type="pic" sz="quarter" idx="27" hasCustomPrompt="1"/>
          </p:nvPr>
        </p:nvSpPr>
        <p:spPr>
          <a:xfrm>
            <a:off x="4667432" y="340910"/>
            <a:ext cx="1967115" cy="212282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  <p:sp>
        <p:nvSpPr>
          <p:cNvPr id="29" name="Rectangle 28"/>
          <p:cNvSpPr/>
          <p:nvPr userDrawn="1"/>
        </p:nvSpPr>
        <p:spPr>
          <a:xfrm>
            <a:off x="6814068" y="339727"/>
            <a:ext cx="1966913" cy="21241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Picture Placeholder 6"/>
          <p:cNvSpPr>
            <a:spLocks noGrp="1"/>
          </p:cNvSpPr>
          <p:nvPr>
            <p:ph type="pic" sz="quarter" idx="28" hasCustomPrompt="1"/>
          </p:nvPr>
        </p:nvSpPr>
        <p:spPr>
          <a:xfrm>
            <a:off x="6813866" y="340910"/>
            <a:ext cx="1967115" cy="212282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  <p:sp>
        <p:nvSpPr>
          <p:cNvPr id="37" name="Rectangle 36"/>
          <p:cNvSpPr/>
          <p:nvPr userDrawn="1"/>
        </p:nvSpPr>
        <p:spPr>
          <a:xfrm>
            <a:off x="2497137" y="2664228"/>
            <a:ext cx="1966913" cy="21241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8" name="Picture Placeholder 6"/>
          <p:cNvSpPr>
            <a:spLocks noGrp="1"/>
          </p:cNvSpPr>
          <p:nvPr>
            <p:ph type="pic" sz="quarter" idx="29" hasCustomPrompt="1"/>
          </p:nvPr>
        </p:nvSpPr>
        <p:spPr>
          <a:xfrm>
            <a:off x="2496935" y="2665411"/>
            <a:ext cx="1967115" cy="212282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  <p:sp>
        <p:nvSpPr>
          <p:cNvPr id="39" name="Rectangle 38"/>
          <p:cNvSpPr/>
          <p:nvPr userDrawn="1"/>
        </p:nvSpPr>
        <p:spPr>
          <a:xfrm>
            <a:off x="4667634" y="2664228"/>
            <a:ext cx="1966913" cy="21241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0" name="Picture Placeholder 6"/>
          <p:cNvSpPr>
            <a:spLocks noGrp="1"/>
          </p:cNvSpPr>
          <p:nvPr>
            <p:ph type="pic" sz="quarter" idx="30" hasCustomPrompt="1"/>
          </p:nvPr>
        </p:nvSpPr>
        <p:spPr>
          <a:xfrm>
            <a:off x="4667432" y="2665411"/>
            <a:ext cx="1967115" cy="212282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  <p:sp>
        <p:nvSpPr>
          <p:cNvPr id="41" name="Rectangle 40"/>
          <p:cNvSpPr/>
          <p:nvPr userDrawn="1"/>
        </p:nvSpPr>
        <p:spPr>
          <a:xfrm>
            <a:off x="6814068" y="2664228"/>
            <a:ext cx="1966913" cy="21241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" name="Picture Placeholder 6"/>
          <p:cNvSpPr>
            <a:spLocks noGrp="1"/>
          </p:cNvSpPr>
          <p:nvPr>
            <p:ph type="pic" sz="quarter" idx="31" hasCustomPrompt="1"/>
          </p:nvPr>
        </p:nvSpPr>
        <p:spPr>
          <a:xfrm>
            <a:off x="6813866" y="2665411"/>
            <a:ext cx="1967115" cy="212282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</p:spTree>
    <p:extLst>
      <p:ext uri="{BB962C8B-B14F-4D97-AF65-F5344CB8AC3E}">
        <p14:creationId xmlns:p14="http://schemas.microsoft.com/office/powerpoint/2010/main" val="117297889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&amp;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4" hasCustomPrompt="1"/>
          </p:nvPr>
        </p:nvSpPr>
        <p:spPr>
          <a:xfrm>
            <a:off x="4672117" y="4570413"/>
            <a:ext cx="4110586" cy="215225"/>
          </a:xfrm>
        </p:spPr>
        <p:txBody>
          <a:bodyPr anchor="b"/>
          <a:lstStyle>
            <a:lvl1pPr algn="r">
              <a:spcBef>
                <a:spcPts val="0"/>
              </a:spcBef>
              <a:defRPr sz="700" b="0"/>
            </a:lvl1pPr>
          </a:lstStyle>
          <a:p>
            <a:pPr lvl="0"/>
            <a:r>
              <a:rPr lang="en-US" dirty="0"/>
              <a:t>Source: enter text her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60202" y="1222780"/>
            <a:ext cx="1959138" cy="17838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Picture Placeholder 6"/>
          <p:cNvSpPr>
            <a:spLocks noGrp="1"/>
          </p:cNvSpPr>
          <p:nvPr>
            <p:ph type="pic" sz="quarter" idx="16" hasCustomPrompt="1"/>
          </p:nvPr>
        </p:nvSpPr>
        <p:spPr>
          <a:xfrm>
            <a:off x="359999" y="1223963"/>
            <a:ext cx="1959339" cy="178276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2501823" y="1222780"/>
            <a:ext cx="1959138" cy="17838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Picture Placeholder 6"/>
          <p:cNvSpPr>
            <a:spLocks noGrp="1"/>
          </p:cNvSpPr>
          <p:nvPr>
            <p:ph type="pic" sz="quarter" idx="25" hasCustomPrompt="1"/>
          </p:nvPr>
        </p:nvSpPr>
        <p:spPr>
          <a:xfrm>
            <a:off x="2501620" y="1223963"/>
            <a:ext cx="1959339" cy="178276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  <p:sp>
        <p:nvSpPr>
          <p:cNvPr id="27" name="Rectangle 26"/>
          <p:cNvSpPr/>
          <p:nvPr userDrawn="1"/>
        </p:nvSpPr>
        <p:spPr>
          <a:xfrm>
            <a:off x="4672320" y="1222780"/>
            <a:ext cx="1959138" cy="17838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Picture Placeholder 6"/>
          <p:cNvSpPr>
            <a:spLocks noGrp="1"/>
          </p:cNvSpPr>
          <p:nvPr>
            <p:ph type="pic" sz="quarter" idx="26" hasCustomPrompt="1"/>
          </p:nvPr>
        </p:nvSpPr>
        <p:spPr>
          <a:xfrm>
            <a:off x="4672117" y="1223963"/>
            <a:ext cx="1959339" cy="178276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  <p:sp>
        <p:nvSpPr>
          <p:cNvPr id="29" name="Rectangle 28"/>
          <p:cNvSpPr/>
          <p:nvPr userDrawn="1"/>
        </p:nvSpPr>
        <p:spPr>
          <a:xfrm>
            <a:off x="6823567" y="1222780"/>
            <a:ext cx="1959138" cy="17838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Picture Placeholder 6"/>
          <p:cNvSpPr>
            <a:spLocks noGrp="1"/>
          </p:cNvSpPr>
          <p:nvPr>
            <p:ph type="pic" sz="quarter" idx="27" hasCustomPrompt="1"/>
          </p:nvPr>
        </p:nvSpPr>
        <p:spPr>
          <a:xfrm>
            <a:off x="6823364" y="1223963"/>
            <a:ext cx="1959339" cy="178276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8"/>
          </p:nvPr>
        </p:nvSpPr>
        <p:spPr>
          <a:xfrm>
            <a:off x="360363" y="3194051"/>
            <a:ext cx="1958975" cy="1376258"/>
          </a:xfrm>
        </p:spPr>
        <p:txBody>
          <a:bodyPr/>
          <a:lstStyle>
            <a:lvl2pPr>
              <a:defRPr baseline="0"/>
            </a:lvl2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 </a:t>
            </a:r>
            <a:endParaRPr lang="en-US" dirty="0"/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29"/>
          </p:nvPr>
        </p:nvSpPr>
        <p:spPr>
          <a:xfrm>
            <a:off x="2497138" y="3194051"/>
            <a:ext cx="1958975" cy="1376258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  <a:endParaRPr lang="en-US" dirty="0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0"/>
          </p:nvPr>
        </p:nvSpPr>
        <p:spPr>
          <a:xfrm>
            <a:off x="4663336" y="3194051"/>
            <a:ext cx="1958975" cy="1376258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  <a:endParaRPr lang="en-US" dirty="0"/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31"/>
          </p:nvPr>
        </p:nvSpPr>
        <p:spPr>
          <a:xfrm>
            <a:off x="6826250" y="3194051"/>
            <a:ext cx="1958975" cy="1376258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28211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1227837"/>
            <a:ext cx="9142413" cy="39156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227837"/>
            <a:ext cx="9143999" cy="3915664"/>
          </a:xfrm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GB"/>
              <a:t>Drag &amp; drop image here or delete to place other content</a:t>
            </a:r>
          </a:p>
        </p:txBody>
      </p:sp>
      <p:sp>
        <p:nvSpPr>
          <p:cNvPr id="6" name="Text Placeholder 14"/>
          <p:cNvSpPr>
            <a:spLocks noGrp="1"/>
          </p:cNvSpPr>
          <p:nvPr>
            <p:ph type="body" sz="quarter" idx="24" hasCustomPrompt="1"/>
          </p:nvPr>
        </p:nvSpPr>
        <p:spPr>
          <a:xfrm>
            <a:off x="4672117" y="4570413"/>
            <a:ext cx="4110586" cy="215225"/>
          </a:xfrm>
        </p:spPr>
        <p:txBody>
          <a:bodyPr anchor="b"/>
          <a:lstStyle>
            <a:lvl1pPr algn="r">
              <a:spcBef>
                <a:spcPts val="0"/>
              </a:spcBef>
              <a:defRPr sz="700" b="0"/>
            </a:lvl1pPr>
          </a:lstStyle>
          <a:p>
            <a:pPr lvl="0"/>
            <a:r>
              <a:rPr lang="en-US" dirty="0"/>
              <a:t>Source: enter text here</a:t>
            </a:r>
          </a:p>
        </p:txBody>
      </p:sp>
    </p:spTree>
    <p:extLst>
      <p:ext uri="{BB962C8B-B14F-4D97-AF65-F5344CB8AC3E}">
        <p14:creationId xmlns:p14="http://schemas.microsoft.com/office/powerpoint/2010/main" val="28752097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1"/>
            <a:ext cx="9144000" cy="2950882"/>
          </a:xfrm>
          <a:prstGeom prst="rect">
            <a:avLst/>
          </a:prstGeom>
          <a:solidFill>
            <a:schemeClr val="tx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9142413" cy="2947988"/>
          </a:xfrm>
          <a:noFill/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chemeClr val="bg2"/>
                </a:solidFill>
              </a:defRPr>
            </a:lvl1pPr>
          </a:lstStyle>
          <a:p>
            <a:r>
              <a:rPr lang="en-GB"/>
              <a:t>Drag &amp; drop to place image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358775" y="356107"/>
            <a:ext cx="1960563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0" name="Text Placeholder 28"/>
          <p:cNvSpPr>
            <a:spLocks noGrp="1"/>
          </p:cNvSpPr>
          <p:nvPr>
            <p:ph type="body" sz="quarter" idx="22"/>
          </p:nvPr>
        </p:nvSpPr>
        <p:spPr>
          <a:xfrm>
            <a:off x="358775" y="3194050"/>
            <a:ext cx="2522116" cy="1371206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1" name="Text Placeholder 28"/>
          <p:cNvSpPr>
            <a:spLocks noGrp="1"/>
          </p:cNvSpPr>
          <p:nvPr>
            <p:ph type="body" sz="quarter" idx="23"/>
          </p:nvPr>
        </p:nvSpPr>
        <p:spPr>
          <a:xfrm>
            <a:off x="3097653" y="3196312"/>
            <a:ext cx="2735405" cy="1371206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2" name="Text Placeholder 28"/>
          <p:cNvSpPr>
            <a:spLocks noGrp="1"/>
          </p:cNvSpPr>
          <p:nvPr>
            <p:ph type="body" sz="quarter" idx="24"/>
          </p:nvPr>
        </p:nvSpPr>
        <p:spPr>
          <a:xfrm>
            <a:off x="6049820" y="3194050"/>
            <a:ext cx="2735405" cy="1371206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5" name="Text Placeholder 14"/>
          <p:cNvSpPr>
            <a:spLocks noGrp="1"/>
          </p:cNvSpPr>
          <p:nvPr>
            <p:ph type="body" sz="quarter" idx="25" hasCustomPrompt="1"/>
          </p:nvPr>
        </p:nvSpPr>
        <p:spPr>
          <a:xfrm>
            <a:off x="4664075" y="4570413"/>
            <a:ext cx="4125412" cy="215225"/>
          </a:xfrm>
        </p:spPr>
        <p:txBody>
          <a:bodyPr anchor="b"/>
          <a:lstStyle>
            <a:lvl1pPr algn="r">
              <a:spcBef>
                <a:spcPts val="0"/>
              </a:spcBef>
              <a:defRPr sz="7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Source: enter text here</a:t>
            </a:r>
          </a:p>
        </p:txBody>
      </p:sp>
      <p:sp>
        <p:nvSpPr>
          <p:cNvPr id="36" name="Text Placeholder 28"/>
          <p:cNvSpPr>
            <a:spLocks noGrp="1"/>
          </p:cNvSpPr>
          <p:nvPr>
            <p:ph type="body" sz="quarter" idx="26"/>
          </p:nvPr>
        </p:nvSpPr>
        <p:spPr>
          <a:xfrm>
            <a:off x="6632575" y="1222547"/>
            <a:ext cx="2152650" cy="1074566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67094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/>
          <p:cNvSpPr>
            <a:spLocks noGrp="1"/>
          </p:cNvSpPr>
          <p:nvPr>
            <p:ph type="body" sz="quarter" idx="24" hasCustomPrompt="1"/>
          </p:nvPr>
        </p:nvSpPr>
        <p:spPr>
          <a:xfrm>
            <a:off x="4672117" y="4838211"/>
            <a:ext cx="4110586" cy="121492"/>
          </a:xfrm>
        </p:spPr>
        <p:txBody>
          <a:bodyPr anchor="b"/>
          <a:lstStyle>
            <a:lvl1pPr algn="r">
              <a:spcBef>
                <a:spcPts val="0"/>
              </a:spcBef>
              <a:defRPr sz="700" b="1"/>
            </a:lvl1pPr>
          </a:lstStyle>
          <a:p>
            <a:pPr lvl="0"/>
            <a:r>
              <a:rPr lang="en-US" dirty="0"/>
              <a:t>Source: enter text here</a:t>
            </a:r>
          </a:p>
        </p:txBody>
      </p:sp>
      <p:sp>
        <p:nvSpPr>
          <p:cNvPr id="29" name="Rectangle 28"/>
          <p:cNvSpPr/>
          <p:nvPr userDrawn="1"/>
        </p:nvSpPr>
        <p:spPr>
          <a:xfrm>
            <a:off x="359378" y="2664010"/>
            <a:ext cx="4104452" cy="21240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Picture Placeholder 6"/>
          <p:cNvSpPr>
            <a:spLocks noGrp="1"/>
          </p:cNvSpPr>
          <p:nvPr>
            <p:ph type="pic" sz="quarter" idx="26" hasCustomPrompt="1"/>
          </p:nvPr>
        </p:nvSpPr>
        <p:spPr>
          <a:xfrm>
            <a:off x="359176" y="2665178"/>
            <a:ext cx="4104874" cy="212272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  <p:sp>
        <p:nvSpPr>
          <p:cNvPr id="33" name="Rectangle 32"/>
          <p:cNvSpPr/>
          <p:nvPr userDrawn="1"/>
        </p:nvSpPr>
        <p:spPr>
          <a:xfrm>
            <a:off x="359378" y="339509"/>
            <a:ext cx="4104452" cy="21240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Picture Placeholder 6"/>
          <p:cNvSpPr>
            <a:spLocks noGrp="1"/>
          </p:cNvSpPr>
          <p:nvPr>
            <p:ph type="pic" sz="quarter" idx="28" hasCustomPrompt="1"/>
          </p:nvPr>
        </p:nvSpPr>
        <p:spPr>
          <a:xfrm>
            <a:off x="359176" y="340677"/>
            <a:ext cx="4104874" cy="212272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  <p:sp>
        <p:nvSpPr>
          <p:cNvPr id="35" name="Rectangle 34"/>
          <p:cNvSpPr/>
          <p:nvPr userDrawn="1"/>
        </p:nvSpPr>
        <p:spPr>
          <a:xfrm>
            <a:off x="4664278" y="2664010"/>
            <a:ext cx="4116483" cy="21240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6" name="Picture Placeholder 6"/>
          <p:cNvSpPr>
            <a:spLocks noGrp="1"/>
          </p:cNvSpPr>
          <p:nvPr>
            <p:ph type="pic" sz="quarter" idx="29" hasCustomPrompt="1"/>
          </p:nvPr>
        </p:nvSpPr>
        <p:spPr>
          <a:xfrm>
            <a:off x="4664075" y="2665178"/>
            <a:ext cx="4116906" cy="212272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  <p:sp>
        <p:nvSpPr>
          <p:cNvPr id="37" name="Rectangle 36"/>
          <p:cNvSpPr/>
          <p:nvPr userDrawn="1"/>
        </p:nvSpPr>
        <p:spPr>
          <a:xfrm>
            <a:off x="4664278" y="339509"/>
            <a:ext cx="4116483" cy="21240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8" name="Picture Placeholder 6"/>
          <p:cNvSpPr>
            <a:spLocks noGrp="1"/>
          </p:cNvSpPr>
          <p:nvPr>
            <p:ph type="pic" sz="quarter" idx="30" hasCustomPrompt="1"/>
          </p:nvPr>
        </p:nvSpPr>
        <p:spPr>
          <a:xfrm>
            <a:off x="4664075" y="340677"/>
            <a:ext cx="4116906" cy="212272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1"/>
          </p:nvPr>
        </p:nvSpPr>
        <p:spPr>
          <a:xfrm>
            <a:off x="576263" y="519113"/>
            <a:ext cx="3671887" cy="1778000"/>
          </a:xfrm>
        </p:spPr>
        <p:txBody>
          <a:bodyPr anchor="ctr"/>
          <a:lstStyle>
            <a:lvl1pPr algn="ctr">
              <a:lnSpc>
                <a:spcPct val="100000"/>
              </a:lnSpc>
              <a:defRPr sz="20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9" name="Text Placeholder 3"/>
          <p:cNvSpPr>
            <a:spLocks noGrp="1"/>
          </p:cNvSpPr>
          <p:nvPr>
            <p:ph type="body" sz="quarter" idx="32"/>
          </p:nvPr>
        </p:nvSpPr>
        <p:spPr>
          <a:xfrm>
            <a:off x="4893620" y="519113"/>
            <a:ext cx="3671887" cy="1778000"/>
          </a:xfrm>
        </p:spPr>
        <p:txBody>
          <a:bodyPr anchor="ctr"/>
          <a:lstStyle>
            <a:lvl1pPr algn="ctr">
              <a:lnSpc>
                <a:spcPct val="100000"/>
              </a:lnSpc>
              <a:defRPr sz="20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33"/>
          </p:nvPr>
        </p:nvSpPr>
        <p:spPr>
          <a:xfrm>
            <a:off x="576263" y="2845624"/>
            <a:ext cx="3671887" cy="1778000"/>
          </a:xfrm>
        </p:spPr>
        <p:txBody>
          <a:bodyPr anchor="ctr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34"/>
          </p:nvPr>
        </p:nvSpPr>
        <p:spPr>
          <a:xfrm>
            <a:off x="4893620" y="2845624"/>
            <a:ext cx="3671887" cy="1778000"/>
          </a:xfrm>
        </p:spPr>
        <p:txBody>
          <a:bodyPr anchor="ctr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059421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1185073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1062867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5"/>
          <p:cNvSpPr>
            <a:spLocks noGrp="1" noChangeArrowheads="1"/>
          </p:cNvSpPr>
          <p:nvPr>
            <p:ph type="body" idx="1"/>
          </p:nvPr>
        </p:nvSpPr>
        <p:spPr>
          <a:xfrm>
            <a:off x="185737" y="778287"/>
            <a:ext cx="8701943" cy="32949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buClr>
                <a:srgbClr val="A71930"/>
              </a:buClr>
              <a:buFontTx/>
              <a:buBlip>
                <a:blip r:embed="rId2"/>
              </a:buBlip>
              <a:defRPr sz="1350" b="0">
                <a:latin typeface="Calibri" panose="020F0502020204030204" pitchFamily="34" charset="0"/>
                <a:cs typeface="Arial" pitchFamily="34" charset="0"/>
              </a:defRPr>
            </a:lvl1pPr>
            <a:lvl2pPr>
              <a:spcBef>
                <a:spcPts val="0"/>
              </a:spcBef>
              <a:buClr>
                <a:srgbClr val="A71930"/>
              </a:buClr>
              <a:defRPr sz="1350" b="0">
                <a:latin typeface="Calibri" panose="020F0502020204030204" pitchFamily="34" charset="0"/>
              </a:defRPr>
            </a:lvl2pPr>
            <a:lvl3pPr>
              <a:spcBef>
                <a:spcPts val="0"/>
              </a:spcBef>
              <a:buClr>
                <a:srgbClr val="A71930"/>
              </a:buClr>
              <a:defRPr sz="1350" b="0">
                <a:latin typeface="Calibri" panose="020F0502020204030204" pitchFamily="34" charset="0"/>
              </a:defRPr>
            </a:lvl3pPr>
            <a:lvl4pPr>
              <a:spcBef>
                <a:spcPts val="0"/>
              </a:spcBef>
              <a:buClr>
                <a:srgbClr val="A71930"/>
              </a:buClr>
              <a:defRPr sz="1350" b="0">
                <a:latin typeface="Calibri" panose="020F0502020204030204" pitchFamily="34" charset="0"/>
              </a:defRPr>
            </a:lvl4pPr>
            <a:lvl5pPr>
              <a:spcBef>
                <a:spcPts val="0"/>
              </a:spcBef>
              <a:buClr>
                <a:srgbClr val="A71930"/>
              </a:buClr>
              <a:defRPr sz="1350" b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Rectangle 4"/>
          <p:cNvSpPr>
            <a:spLocks noGrp="1" noChangeArrowheads="1"/>
          </p:cNvSpPr>
          <p:nvPr>
            <p:ph type="title"/>
          </p:nvPr>
        </p:nvSpPr>
        <p:spPr>
          <a:xfrm>
            <a:off x="1" y="1"/>
            <a:ext cx="7416800" cy="716056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l">
              <a:lnSpc>
                <a:spcPts val="1875"/>
              </a:lnSpc>
              <a:defRPr sz="2100" b="1" baseline="0">
                <a:solidFill>
                  <a:schemeClr val="tx2"/>
                </a:solidFill>
                <a:latin typeface="Calibri" panose="020F0502020204030204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 Placeholder 4"/>
          <p:cNvSpPr txBox="1">
            <a:spLocks/>
          </p:cNvSpPr>
          <p:nvPr userDrawn="1"/>
        </p:nvSpPr>
        <p:spPr bwMode="auto">
          <a:xfrm>
            <a:off x="8842315" y="4947294"/>
            <a:ext cx="301686" cy="207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r">
              <a:defRPr/>
            </a:pPr>
            <a:fld id="{6A1AA2C5-B4DB-426C-B3E5-890CC5D98970}" type="slidenum">
              <a:rPr lang="en-US" sz="750" b="0">
                <a:solidFill>
                  <a:schemeClr val="tx1"/>
                </a:solidFill>
                <a:cs typeface="Arial" charset="0"/>
              </a:rPr>
              <a:pPr algn="r">
                <a:defRPr/>
              </a:pPr>
              <a:t>‹#›</a:t>
            </a:fld>
            <a:endParaRPr lang="en-US" sz="750" b="0">
              <a:solidFill>
                <a:schemeClr val="tx1"/>
              </a:solidFill>
              <a:cs typeface="Arial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AB8FFA88-8326-4BB8-86B4-84824C6C0F05}"/>
              </a:ext>
            </a:extLst>
          </p:cNvPr>
          <p:cNvGrpSpPr/>
          <p:nvPr userDrawn="1"/>
        </p:nvGrpSpPr>
        <p:grpSpPr>
          <a:xfrm>
            <a:off x="84406" y="4414545"/>
            <a:ext cx="9059594" cy="495886"/>
            <a:chOff x="1" y="4927210"/>
            <a:chExt cx="12079458" cy="661181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A383969-ADA7-4008-881E-4AF4A6169B59}"/>
                </a:ext>
              </a:extLst>
            </p:cNvPr>
            <p:cNvSpPr/>
            <p:nvPr/>
          </p:nvSpPr>
          <p:spPr>
            <a:xfrm>
              <a:off x="1" y="5257801"/>
              <a:ext cx="11050012" cy="58503"/>
            </a:xfrm>
            <a:prstGeom prst="rect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E" sz="135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4310950F-3F0A-4E8C-9110-51B12BAEC3FE}"/>
                </a:ext>
              </a:extLst>
            </p:cNvPr>
            <p:cNvSpPr/>
            <p:nvPr/>
          </p:nvSpPr>
          <p:spPr>
            <a:xfrm>
              <a:off x="1" y="5316304"/>
              <a:ext cx="11050012" cy="4571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E" sz="1350"/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36CF47E5-DA9B-400D-B712-8E5CFB08717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050013" y="4927210"/>
              <a:ext cx="1029446" cy="661181"/>
            </a:xfrm>
            <a:prstGeom prst="rect">
              <a:avLst/>
            </a:prstGeom>
          </p:spPr>
        </p:pic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D2131BA8-9E50-4030-99C8-26371C0EB85C}"/>
              </a:ext>
            </a:extLst>
          </p:cNvPr>
          <p:cNvPicPr/>
          <p:nvPr userDrawn="1"/>
        </p:nvPicPr>
        <p:blipFill>
          <a:blip r:embed="rId4"/>
          <a:stretch>
            <a:fillRect/>
          </a:stretch>
        </p:blipFill>
        <p:spPr>
          <a:xfrm>
            <a:off x="7475899" y="0"/>
            <a:ext cx="1668101" cy="699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541179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One Bullet Column - Lines 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66345" y="1143000"/>
            <a:ext cx="8211311" cy="3310128"/>
          </a:xfrm>
        </p:spPr>
        <p:txBody>
          <a:bodyPr/>
          <a:lstStyle>
            <a:lvl1pPr marL="174621" indent="-17462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 sz="1400" b="0">
                <a:solidFill>
                  <a:schemeClr val="tx1"/>
                </a:solidFill>
              </a:defRPr>
            </a:lvl1pPr>
            <a:lvl2pPr marL="341305" indent="-17462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ucida Grande"/>
              <a:buChar char="-"/>
              <a:defRPr sz="1400" b="0">
                <a:solidFill>
                  <a:schemeClr val="tx1"/>
                </a:solidFill>
              </a:defRPr>
            </a:lvl2pPr>
            <a:lvl3pPr marL="509576" indent="-17462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ucida Grande"/>
              <a:buChar char="-"/>
              <a:tabLst>
                <a:tab pos="630222" algn="l"/>
                <a:tab pos="687371" algn="l"/>
              </a:tabLst>
              <a:defRPr sz="1400" b="0">
                <a:solidFill>
                  <a:schemeClr val="tx1"/>
                </a:solidFill>
              </a:defRPr>
            </a:lvl3pPr>
            <a:lvl4pPr marL="744520" indent="-184145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574661" algn="l"/>
                <a:tab pos="854054" algn="l"/>
              </a:tabLst>
              <a:defRPr sz="1400" b="0">
                <a:solidFill>
                  <a:schemeClr val="tx1"/>
                </a:solidFill>
              </a:defRPr>
            </a:lvl4pPr>
            <a:lvl5pPr marL="912791" indent="-184145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511163" algn="l"/>
              </a:tabLst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3" name="LogoDark"/>
          <p:cNvGrpSpPr>
            <a:grpSpLocks noChangeAspect="1"/>
          </p:cNvGrpSpPr>
          <p:nvPr/>
        </p:nvGrpSpPr>
        <p:grpSpPr bwMode="auto">
          <a:xfrm>
            <a:off x="7788131" y="4662926"/>
            <a:ext cx="1097280" cy="313476"/>
            <a:chOff x="444" y="928"/>
            <a:chExt cx="4869" cy="1391"/>
          </a:xfrm>
          <a:solidFill>
            <a:schemeClr val="tx1"/>
          </a:solidFill>
        </p:grpSpPr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5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7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9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81577C7-C20B-4E75-8C29-94D46379FC8C}" type="slidenum">
              <a:rPr lang="en-IE" smtClean="0"/>
              <a:t>‹#›</a:t>
            </a:fld>
            <a:endParaRPr lang="en-IE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9480778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ext &amp; Objec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008" y="1143000"/>
            <a:ext cx="2845113" cy="33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3708400" y="1143000"/>
            <a:ext cx="4967288" cy="33083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2" name="LogoDark"/>
          <p:cNvGrpSpPr>
            <a:grpSpLocks noChangeAspect="1"/>
          </p:cNvGrpSpPr>
          <p:nvPr/>
        </p:nvGrpSpPr>
        <p:grpSpPr bwMode="auto">
          <a:xfrm>
            <a:off x="7788131" y="4662926"/>
            <a:ext cx="1097280" cy="313476"/>
            <a:chOff x="444" y="928"/>
            <a:chExt cx="4869" cy="1391"/>
          </a:xfrm>
          <a:solidFill>
            <a:schemeClr val="tx1"/>
          </a:solidFill>
        </p:grpSpPr>
        <p:sp>
          <p:nvSpPr>
            <p:cNvPr id="13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6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8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1577C7-C20B-4E75-8C29-94D46379FC8C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42633609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 &amp;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365379" y="1223964"/>
            <a:ext cx="2698798" cy="17827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425" y="519113"/>
            <a:ext cx="8421286" cy="56913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24" hasCustomPrompt="1"/>
          </p:nvPr>
        </p:nvSpPr>
        <p:spPr>
          <a:xfrm>
            <a:off x="4664075" y="4570413"/>
            <a:ext cx="4125412" cy="215225"/>
          </a:xfrm>
        </p:spPr>
        <p:txBody>
          <a:bodyPr anchor="b"/>
          <a:lstStyle>
            <a:lvl1pPr algn="r">
              <a:spcBef>
                <a:spcPts val="0"/>
              </a:spcBef>
              <a:defRPr sz="700" b="0"/>
            </a:lvl1pPr>
          </a:lstStyle>
          <a:p>
            <a:pPr lvl="0"/>
            <a:r>
              <a:rPr lang="en-US" dirty="0"/>
              <a:t>Source: enter text here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28"/>
          </p:nvPr>
        </p:nvSpPr>
        <p:spPr>
          <a:xfrm>
            <a:off x="360363" y="3194050"/>
            <a:ext cx="2703814" cy="137636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29"/>
          </p:nvPr>
        </p:nvSpPr>
        <p:spPr>
          <a:xfrm>
            <a:off x="3219066" y="3194050"/>
            <a:ext cx="2703814" cy="137636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0"/>
          </p:nvPr>
        </p:nvSpPr>
        <p:spPr>
          <a:xfrm>
            <a:off x="6077769" y="3194050"/>
            <a:ext cx="2703814" cy="137636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9" name="Picture Placeholder 6"/>
          <p:cNvSpPr>
            <a:spLocks noGrp="1"/>
          </p:cNvSpPr>
          <p:nvPr>
            <p:ph type="pic" sz="quarter" idx="31" hasCustomPrompt="1"/>
          </p:nvPr>
        </p:nvSpPr>
        <p:spPr>
          <a:xfrm>
            <a:off x="357128" y="1223960"/>
            <a:ext cx="2707049" cy="1782765"/>
          </a:xfrm>
          <a:noFill/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  <p:sp>
        <p:nvSpPr>
          <p:cNvPr id="31" name="Rectangle 30"/>
          <p:cNvSpPr/>
          <p:nvPr userDrawn="1"/>
        </p:nvSpPr>
        <p:spPr>
          <a:xfrm>
            <a:off x="3233708" y="1223964"/>
            <a:ext cx="2698798" cy="17827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Picture Placeholder 6"/>
          <p:cNvSpPr>
            <a:spLocks noGrp="1"/>
          </p:cNvSpPr>
          <p:nvPr>
            <p:ph type="pic" sz="quarter" idx="32" hasCustomPrompt="1"/>
          </p:nvPr>
        </p:nvSpPr>
        <p:spPr>
          <a:xfrm>
            <a:off x="3225457" y="1223960"/>
            <a:ext cx="2707049" cy="1782765"/>
          </a:xfrm>
          <a:noFill/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  <p:sp>
        <p:nvSpPr>
          <p:cNvPr id="33" name="Rectangle 32"/>
          <p:cNvSpPr/>
          <p:nvPr userDrawn="1"/>
        </p:nvSpPr>
        <p:spPr>
          <a:xfrm>
            <a:off x="6082786" y="1223964"/>
            <a:ext cx="2698798" cy="17827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Picture Placeholder 6"/>
          <p:cNvSpPr>
            <a:spLocks noGrp="1"/>
          </p:cNvSpPr>
          <p:nvPr>
            <p:ph type="pic" sz="quarter" idx="33" hasCustomPrompt="1"/>
          </p:nvPr>
        </p:nvSpPr>
        <p:spPr>
          <a:xfrm>
            <a:off x="6074535" y="1223960"/>
            <a:ext cx="2707049" cy="1782765"/>
          </a:xfrm>
          <a:noFill/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</p:spTree>
    <p:extLst>
      <p:ext uri="{BB962C8B-B14F-4D97-AF65-F5344CB8AC3E}">
        <p14:creationId xmlns:p14="http://schemas.microsoft.com/office/powerpoint/2010/main" val="5239706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s &amp;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61425" y="519113"/>
            <a:ext cx="8421286" cy="70484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365378" y="1223963"/>
            <a:ext cx="4096624" cy="26749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8"/>
          </p:nvPr>
        </p:nvSpPr>
        <p:spPr>
          <a:xfrm>
            <a:off x="360363" y="4079875"/>
            <a:ext cx="4103687" cy="706438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  <a:endParaRPr lang="en-US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9"/>
          </p:nvPr>
        </p:nvSpPr>
        <p:spPr>
          <a:xfrm>
            <a:off x="4667668" y="4079875"/>
            <a:ext cx="4117557" cy="706438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  <a:endParaRPr lang="en-US" dirty="0"/>
          </a:p>
        </p:txBody>
      </p:sp>
      <p:sp>
        <p:nvSpPr>
          <p:cNvPr id="20" name="Picture Placeholder 6"/>
          <p:cNvSpPr>
            <a:spLocks noGrp="1"/>
          </p:cNvSpPr>
          <p:nvPr>
            <p:ph type="pic" sz="quarter" idx="30" hasCustomPrompt="1"/>
          </p:nvPr>
        </p:nvSpPr>
        <p:spPr>
          <a:xfrm>
            <a:off x="357128" y="1223960"/>
            <a:ext cx="4106922" cy="2674939"/>
          </a:xfrm>
          <a:noFill/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4670521" y="1223963"/>
            <a:ext cx="4112616" cy="26749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Picture Placeholder 6"/>
          <p:cNvSpPr>
            <a:spLocks noGrp="1"/>
          </p:cNvSpPr>
          <p:nvPr>
            <p:ph type="pic" sz="quarter" idx="31" hasCustomPrompt="1"/>
          </p:nvPr>
        </p:nvSpPr>
        <p:spPr>
          <a:xfrm>
            <a:off x="4662271" y="1223960"/>
            <a:ext cx="4122954" cy="2674939"/>
          </a:xfrm>
          <a:noFill/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</p:spTree>
    <p:extLst>
      <p:ext uri="{BB962C8B-B14F-4D97-AF65-F5344CB8AC3E}">
        <p14:creationId xmlns:p14="http://schemas.microsoft.com/office/powerpoint/2010/main" val="35685396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image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2497137" y="339727"/>
            <a:ext cx="1966913" cy="21241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6" hasCustomPrompt="1"/>
          </p:nvPr>
        </p:nvSpPr>
        <p:spPr>
          <a:xfrm>
            <a:off x="2496935" y="340910"/>
            <a:ext cx="1967115" cy="212282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362045" y="1225138"/>
            <a:ext cx="1957293" cy="28547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361972" y="520093"/>
            <a:ext cx="1963562" cy="70387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61972" y="4566949"/>
            <a:ext cx="1957293" cy="220951"/>
          </a:xfrm>
        </p:spPr>
        <p:txBody>
          <a:bodyPr anchor="b"/>
          <a:lstStyle>
            <a:lvl1pPr>
              <a:spcBef>
                <a:spcPts val="0"/>
              </a:spcBef>
              <a:defRPr sz="700" b="0"/>
            </a:lvl1pPr>
          </a:lstStyle>
          <a:p>
            <a:pPr lvl="0"/>
            <a:r>
              <a:rPr lang="en-US" dirty="0"/>
              <a:t>Source: enter text here</a:t>
            </a:r>
          </a:p>
        </p:txBody>
      </p:sp>
      <p:sp>
        <p:nvSpPr>
          <p:cNvPr id="27" name="Rectangle 26"/>
          <p:cNvSpPr/>
          <p:nvPr userDrawn="1"/>
        </p:nvSpPr>
        <p:spPr>
          <a:xfrm>
            <a:off x="4667634" y="339727"/>
            <a:ext cx="1966913" cy="21241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Picture Placeholder 6"/>
          <p:cNvSpPr>
            <a:spLocks noGrp="1"/>
          </p:cNvSpPr>
          <p:nvPr>
            <p:ph type="pic" sz="quarter" idx="27" hasCustomPrompt="1"/>
          </p:nvPr>
        </p:nvSpPr>
        <p:spPr>
          <a:xfrm>
            <a:off x="4667432" y="340910"/>
            <a:ext cx="1967115" cy="212282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  <p:sp>
        <p:nvSpPr>
          <p:cNvPr id="29" name="Rectangle 28"/>
          <p:cNvSpPr/>
          <p:nvPr userDrawn="1"/>
        </p:nvSpPr>
        <p:spPr>
          <a:xfrm>
            <a:off x="6814068" y="339727"/>
            <a:ext cx="1966913" cy="21241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Picture Placeholder 6"/>
          <p:cNvSpPr>
            <a:spLocks noGrp="1"/>
          </p:cNvSpPr>
          <p:nvPr>
            <p:ph type="pic" sz="quarter" idx="28" hasCustomPrompt="1"/>
          </p:nvPr>
        </p:nvSpPr>
        <p:spPr>
          <a:xfrm>
            <a:off x="6813866" y="340910"/>
            <a:ext cx="1967115" cy="212282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  <p:sp>
        <p:nvSpPr>
          <p:cNvPr id="37" name="Rectangle 36"/>
          <p:cNvSpPr/>
          <p:nvPr userDrawn="1"/>
        </p:nvSpPr>
        <p:spPr>
          <a:xfrm>
            <a:off x="2497137" y="2664228"/>
            <a:ext cx="1966913" cy="21241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8" name="Picture Placeholder 6"/>
          <p:cNvSpPr>
            <a:spLocks noGrp="1"/>
          </p:cNvSpPr>
          <p:nvPr>
            <p:ph type="pic" sz="quarter" idx="29" hasCustomPrompt="1"/>
          </p:nvPr>
        </p:nvSpPr>
        <p:spPr>
          <a:xfrm>
            <a:off x="2496935" y="2665411"/>
            <a:ext cx="1967115" cy="212282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  <p:sp>
        <p:nvSpPr>
          <p:cNvPr id="39" name="Rectangle 38"/>
          <p:cNvSpPr/>
          <p:nvPr userDrawn="1"/>
        </p:nvSpPr>
        <p:spPr>
          <a:xfrm>
            <a:off x="4667634" y="2664228"/>
            <a:ext cx="1966913" cy="21241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0" name="Picture Placeholder 6"/>
          <p:cNvSpPr>
            <a:spLocks noGrp="1"/>
          </p:cNvSpPr>
          <p:nvPr>
            <p:ph type="pic" sz="quarter" idx="30" hasCustomPrompt="1"/>
          </p:nvPr>
        </p:nvSpPr>
        <p:spPr>
          <a:xfrm>
            <a:off x="4667432" y="2665411"/>
            <a:ext cx="1967115" cy="212282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  <p:sp>
        <p:nvSpPr>
          <p:cNvPr id="41" name="Rectangle 40"/>
          <p:cNvSpPr/>
          <p:nvPr userDrawn="1"/>
        </p:nvSpPr>
        <p:spPr>
          <a:xfrm>
            <a:off x="6814068" y="2664228"/>
            <a:ext cx="1966913" cy="21241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" name="Picture Placeholder 6"/>
          <p:cNvSpPr>
            <a:spLocks noGrp="1"/>
          </p:cNvSpPr>
          <p:nvPr>
            <p:ph type="pic" sz="quarter" idx="31" hasCustomPrompt="1"/>
          </p:nvPr>
        </p:nvSpPr>
        <p:spPr>
          <a:xfrm>
            <a:off x="6813866" y="2665411"/>
            <a:ext cx="1967115" cy="212282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</p:spTree>
    <p:extLst>
      <p:ext uri="{BB962C8B-B14F-4D97-AF65-F5344CB8AC3E}">
        <p14:creationId xmlns:p14="http://schemas.microsoft.com/office/powerpoint/2010/main" val="26075033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&amp;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4" hasCustomPrompt="1"/>
          </p:nvPr>
        </p:nvSpPr>
        <p:spPr>
          <a:xfrm>
            <a:off x="4672117" y="4570413"/>
            <a:ext cx="4110586" cy="215225"/>
          </a:xfrm>
        </p:spPr>
        <p:txBody>
          <a:bodyPr anchor="b"/>
          <a:lstStyle>
            <a:lvl1pPr algn="r">
              <a:spcBef>
                <a:spcPts val="0"/>
              </a:spcBef>
              <a:defRPr sz="700" b="0"/>
            </a:lvl1pPr>
          </a:lstStyle>
          <a:p>
            <a:pPr lvl="0"/>
            <a:r>
              <a:rPr lang="en-US" dirty="0"/>
              <a:t>Source: enter text her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60202" y="1222780"/>
            <a:ext cx="1959138" cy="17838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Picture Placeholder 6"/>
          <p:cNvSpPr>
            <a:spLocks noGrp="1"/>
          </p:cNvSpPr>
          <p:nvPr>
            <p:ph type="pic" sz="quarter" idx="16" hasCustomPrompt="1"/>
          </p:nvPr>
        </p:nvSpPr>
        <p:spPr>
          <a:xfrm>
            <a:off x="359999" y="1223963"/>
            <a:ext cx="1959339" cy="178276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2501823" y="1222780"/>
            <a:ext cx="1959138" cy="17838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Picture Placeholder 6"/>
          <p:cNvSpPr>
            <a:spLocks noGrp="1"/>
          </p:cNvSpPr>
          <p:nvPr>
            <p:ph type="pic" sz="quarter" idx="25" hasCustomPrompt="1"/>
          </p:nvPr>
        </p:nvSpPr>
        <p:spPr>
          <a:xfrm>
            <a:off x="2501620" y="1223963"/>
            <a:ext cx="1959339" cy="178276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  <p:sp>
        <p:nvSpPr>
          <p:cNvPr id="27" name="Rectangle 26"/>
          <p:cNvSpPr/>
          <p:nvPr userDrawn="1"/>
        </p:nvSpPr>
        <p:spPr>
          <a:xfrm>
            <a:off x="4672320" y="1222780"/>
            <a:ext cx="1959138" cy="17838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Picture Placeholder 6"/>
          <p:cNvSpPr>
            <a:spLocks noGrp="1"/>
          </p:cNvSpPr>
          <p:nvPr>
            <p:ph type="pic" sz="quarter" idx="26" hasCustomPrompt="1"/>
          </p:nvPr>
        </p:nvSpPr>
        <p:spPr>
          <a:xfrm>
            <a:off x="4672117" y="1223963"/>
            <a:ext cx="1959339" cy="178276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  <p:sp>
        <p:nvSpPr>
          <p:cNvPr id="29" name="Rectangle 28"/>
          <p:cNvSpPr/>
          <p:nvPr userDrawn="1"/>
        </p:nvSpPr>
        <p:spPr>
          <a:xfrm>
            <a:off x="6823567" y="1222780"/>
            <a:ext cx="1959138" cy="17838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Picture Placeholder 6"/>
          <p:cNvSpPr>
            <a:spLocks noGrp="1"/>
          </p:cNvSpPr>
          <p:nvPr>
            <p:ph type="pic" sz="quarter" idx="27" hasCustomPrompt="1"/>
          </p:nvPr>
        </p:nvSpPr>
        <p:spPr>
          <a:xfrm>
            <a:off x="6823364" y="1223963"/>
            <a:ext cx="1959339" cy="178276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8"/>
          </p:nvPr>
        </p:nvSpPr>
        <p:spPr>
          <a:xfrm>
            <a:off x="360363" y="3194051"/>
            <a:ext cx="1958975" cy="1376258"/>
          </a:xfrm>
        </p:spPr>
        <p:txBody>
          <a:bodyPr/>
          <a:lstStyle>
            <a:lvl2pPr>
              <a:defRPr baseline="0"/>
            </a:lvl2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 </a:t>
            </a:r>
            <a:endParaRPr lang="en-US" dirty="0"/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29"/>
          </p:nvPr>
        </p:nvSpPr>
        <p:spPr>
          <a:xfrm>
            <a:off x="2497138" y="3194051"/>
            <a:ext cx="1958975" cy="1376258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  <a:endParaRPr lang="en-US" dirty="0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0"/>
          </p:nvPr>
        </p:nvSpPr>
        <p:spPr>
          <a:xfrm>
            <a:off x="4663336" y="3194051"/>
            <a:ext cx="1958975" cy="1376258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  <a:endParaRPr lang="en-US" dirty="0"/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31"/>
          </p:nvPr>
        </p:nvSpPr>
        <p:spPr>
          <a:xfrm>
            <a:off x="6826250" y="3194051"/>
            <a:ext cx="1958975" cy="1376258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1963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1227837"/>
            <a:ext cx="9142413" cy="39156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227837"/>
            <a:ext cx="9143999" cy="3915664"/>
          </a:xfrm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GB"/>
              <a:t>Drag &amp; drop image here or delete to place other content</a:t>
            </a:r>
          </a:p>
        </p:txBody>
      </p:sp>
      <p:sp>
        <p:nvSpPr>
          <p:cNvPr id="6" name="Text Placeholder 14"/>
          <p:cNvSpPr>
            <a:spLocks noGrp="1"/>
          </p:cNvSpPr>
          <p:nvPr>
            <p:ph type="body" sz="quarter" idx="24" hasCustomPrompt="1"/>
          </p:nvPr>
        </p:nvSpPr>
        <p:spPr>
          <a:xfrm>
            <a:off x="4672117" y="4570413"/>
            <a:ext cx="4110586" cy="215225"/>
          </a:xfrm>
        </p:spPr>
        <p:txBody>
          <a:bodyPr anchor="b"/>
          <a:lstStyle>
            <a:lvl1pPr algn="r">
              <a:spcBef>
                <a:spcPts val="0"/>
              </a:spcBef>
              <a:defRPr sz="700" b="0"/>
            </a:lvl1pPr>
          </a:lstStyle>
          <a:p>
            <a:pPr lvl="0"/>
            <a:r>
              <a:rPr lang="en-US" dirty="0"/>
              <a:t>Source: enter text here</a:t>
            </a:r>
          </a:p>
        </p:txBody>
      </p:sp>
    </p:spTree>
    <p:extLst>
      <p:ext uri="{BB962C8B-B14F-4D97-AF65-F5344CB8AC3E}">
        <p14:creationId xmlns:p14="http://schemas.microsoft.com/office/powerpoint/2010/main" val="19075573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/>
          <p:cNvSpPr>
            <a:spLocks noGrp="1"/>
          </p:cNvSpPr>
          <p:nvPr>
            <p:ph type="body" sz="quarter" idx="24" hasCustomPrompt="1"/>
          </p:nvPr>
        </p:nvSpPr>
        <p:spPr>
          <a:xfrm>
            <a:off x="4672117" y="4838211"/>
            <a:ext cx="4110586" cy="121492"/>
          </a:xfrm>
        </p:spPr>
        <p:txBody>
          <a:bodyPr anchor="b"/>
          <a:lstStyle>
            <a:lvl1pPr algn="r">
              <a:spcBef>
                <a:spcPts val="0"/>
              </a:spcBef>
              <a:defRPr sz="700" b="1"/>
            </a:lvl1pPr>
          </a:lstStyle>
          <a:p>
            <a:pPr lvl="0"/>
            <a:r>
              <a:rPr lang="en-US" dirty="0"/>
              <a:t>Source: enter text here</a:t>
            </a:r>
          </a:p>
        </p:txBody>
      </p:sp>
      <p:sp>
        <p:nvSpPr>
          <p:cNvPr id="29" name="Rectangle 28"/>
          <p:cNvSpPr/>
          <p:nvPr userDrawn="1"/>
        </p:nvSpPr>
        <p:spPr>
          <a:xfrm>
            <a:off x="359378" y="2664010"/>
            <a:ext cx="4104452" cy="21240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Picture Placeholder 6"/>
          <p:cNvSpPr>
            <a:spLocks noGrp="1"/>
          </p:cNvSpPr>
          <p:nvPr>
            <p:ph type="pic" sz="quarter" idx="26" hasCustomPrompt="1"/>
          </p:nvPr>
        </p:nvSpPr>
        <p:spPr>
          <a:xfrm>
            <a:off x="359176" y="2665178"/>
            <a:ext cx="4104874" cy="212272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  <p:sp>
        <p:nvSpPr>
          <p:cNvPr id="33" name="Rectangle 32"/>
          <p:cNvSpPr/>
          <p:nvPr userDrawn="1"/>
        </p:nvSpPr>
        <p:spPr>
          <a:xfrm>
            <a:off x="359378" y="339509"/>
            <a:ext cx="4104452" cy="21240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Picture Placeholder 6"/>
          <p:cNvSpPr>
            <a:spLocks noGrp="1"/>
          </p:cNvSpPr>
          <p:nvPr>
            <p:ph type="pic" sz="quarter" idx="28" hasCustomPrompt="1"/>
          </p:nvPr>
        </p:nvSpPr>
        <p:spPr>
          <a:xfrm>
            <a:off x="359176" y="340677"/>
            <a:ext cx="4104874" cy="212272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  <p:sp>
        <p:nvSpPr>
          <p:cNvPr id="35" name="Rectangle 34"/>
          <p:cNvSpPr/>
          <p:nvPr userDrawn="1"/>
        </p:nvSpPr>
        <p:spPr>
          <a:xfrm>
            <a:off x="4664278" y="2664010"/>
            <a:ext cx="4116483" cy="21240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6" name="Picture Placeholder 6"/>
          <p:cNvSpPr>
            <a:spLocks noGrp="1"/>
          </p:cNvSpPr>
          <p:nvPr>
            <p:ph type="pic" sz="quarter" idx="29" hasCustomPrompt="1"/>
          </p:nvPr>
        </p:nvSpPr>
        <p:spPr>
          <a:xfrm>
            <a:off x="4664075" y="2665178"/>
            <a:ext cx="4116906" cy="212272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  <p:sp>
        <p:nvSpPr>
          <p:cNvPr id="37" name="Rectangle 36"/>
          <p:cNvSpPr/>
          <p:nvPr userDrawn="1"/>
        </p:nvSpPr>
        <p:spPr>
          <a:xfrm>
            <a:off x="4664278" y="339509"/>
            <a:ext cx="4116483" cy="21240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8" name="Picture Placeholder 6"/>
          <p:cNvSpPr>
            <a:spLocks noGrp="1"/>
          </p:cNvSpPr>
          <p:nvPr>
            <p:ph type="pic" sz="quarter" idx="30" hasCustomPrompt="1"/>
          </p:nvPr>
        </p:nvSpPr>
        <p:spPr>
          <a:xfrm>
            <a:off x="4664075" y="340677"/>
            <a:ext cx="4116906" cy="212272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1"/>
          </p:nvPr>
        </p:nvSpPr>
        <p:spPr>
          <a:xfrm>
            <a:off x="576263" y="519113"/>
            <a:ext cx="3671887" cy="1778000"/>
          </a:xfrm>
        </p:spPr>
        <p:txBody>
          <a:bodyPr anchor="ctr"/>
          <a:lstStyle>
            <a:lvl1pPr algn="ctr">
              <a:lnSpc>
                <a:spcPct val="100000"/>
              </a:lnSpc>
              <a:defRPr sz="20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9" name="Text Placeholder 3"/>
          <p:cNvSpPr>
            <a:spLocks noGrp="1"/>
          </p:cNvSpPr>
          <p:nvPr>
            <p:ph type="body" sz="quarter" idx="32"/>
          </p:nvPr>
        </p:nvSpPr>
        <p:spPr>
          <a:xfrm>
            <a:off x="4893620" y="519113"/>
            <a:ext cx="3671887" cy="1778000"/>
          </a:xfrm>
        </p:spPr>
        <p:txBody>
          <a:bodyPr anchor="ctr"/>
          <a:lstStyle>
            <a:lvl1pPr algn="ctr">
              <a:lnSpc>
                <a:spcPct val="100000"/>
              </a:lnSpc>
              <a:defRPr sz="20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33"/>
          </p:nvPr>
        </p:nvSpPr>
        <p:spPr>
          <a:xfrm>
            <a:off x="576263" y="2845624"/>
            <a:ext cx="3671887" cy="1778000"/>
          </a:xfrm>
        </p:spPr>
        <p:txBody>
          <a:bodyPr anchor="ctr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34"/>
          </p:nvPr>
        </p:nvSpPr>
        <p:spPr>
          <a:xfrm>
            <a:off x="4893620" y="2845624"/>
            <a:ext cx="3671887" cy="1778000"/>
          </a:xfrm>
        </p:spPr>
        <p:txBody>
          <a:bodyPr anchor="ctr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34988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713253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886009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 Client Cover Slide (Imag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497138" y="1414463"/>
            <a:ext cx="6287920" cy="1592262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2800" cap="all" baseline="0"/>
            </a:lvl1pPr>
          </a:lstStyle>
          <a:p>
            <a:r>
              <a:rPr lang="en-GB" dirty="0"/>
              <a:t>CLIENT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503387" y="3193541"/>
            <a:ext cx="6281737" cy="705359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400" b="1" cap="none" baseline="0">
                <a:solidFill>
                  <a:schemeClr val="tx2"/>
                </a:solidFill>
              </a:defRPr>
            </a:lvl1pPr>
            <a:lvl2pPr marL="457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ubtitle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2485058" y="3016973"/>
            <a:ext cx="63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663796" y="1414463"/>
            <a:ext cx="1333500" cy="1422401"/>
          </a:xfrm>
        </p:spPr>
        <p:txBody>
          <a:bodyPr anchor="ctr"/>
          <a:lstStyle>
            <a:lvl1pPr algn="ctr">
              <a:defRPr baseline="0"/>
            </a:lvl1pPr>
          </a:lstStyle>
          <a:p>
            <a:r>
              <a:rPr lang="en-GB"/>
              <a:t>Client Logo Here</a:t>
            </a:r>
          </a:p>
        </p:txBody>
      </p:sp>
      <p:grpSp>
        <p:nvGrpSpPr>
          <p:cNvPr id="25" name="Group 24"/>
          <p:cNvGrpSpPr>
            <a:grpSpLocks noChangeAspect="1"/>
          </p:cNvGrpSpPr>
          <p:nvPr userDrawn="1"/>
        </p:nvGrpSpPr>
        <p:grpSpPr>
          <a:xfrm>
            <a:off x="7651248" y="4407954"/>
            <a:ext cx="1097216" cy="338034"/>
            <a:chOff x="5043330" y="2582427"/>
            <a:chExt cx="2714033" cy="836158"/>
          </a:xfrm>
        </p:grpSpPr>
        <p:pic>
          <p:nvPicPr>
            <p:cNvPr id="34" name="logo graphic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21205" y="2582427"/>
              <a:ext cx="836158" cy="836158"/>
            </a:xfrm>
            <a:prstGeom prst="rect">
              <a:avLst/>
            </a:prstGeom>
          </p:spPr>
        </p:pic>
        <p:grpSp>
          <p:nvGrpSpPr>
            <p:cNvPr id="39" name="letters"/>
            <p:cNvGrpSpPr/>
            <p:nvPr/>
          </p:nvGrpSpPr>
          <p:grpSpPr>
            <a:xfrm>
              <a:off x="5043330" y="2901718"/>
              <a:ext cx="1777426" cy="197580"/>
              <a:chOff x="566670" y="435864"/>
              <a:chExt cx="1169700" cy="130025"/>
            </a:xfrm>
            <a:solidFill>
              <a:schemeClr val="tx1"/>
            </a:solidFill>
          </p:grpSpPr>
          <p:sp>
            <p:nvSpPr>
              <p:cNvPr id="40" name="Freeform 6"/>
              <p:cNvSpPr>
                <a:spLocks/>
              </p:cNvSpPr>
              <p:nvPr/>
            </p:nvSpPr>
            <p:spPr bwMode="auto">
              <a:xfrm>
                <a:off x="566670" y="437296"/>
                <a:ext cx="146069" cy="127448"/>
              </a:xfrm>
              <a:custGeom>
                <a:avLst/>
                <a:gdLst>
                  <a:gd name="T0" fmla="*/ 216 w 216"/>
                  <a:gd name="T1" fmla="*/ 188 h 188"/>
                  <a:gd name="T2" fmla="*/ 178 w 216"/>
                  <a:gd name="T3" fmla="*/ 188 h 188"/>
                  <a:gd name="T4" fmla="*/ 178 w 216"/>
                  <a:gd name="T5" fmla="*/ 66 h 188"/>
                  <a:gd name="T6" fmla="*/ 113 w 216"/>
                  <a:gd name="T7" fmla="*/ 145 h 188"/>
                  <a:gd name="T8" fmla="*/ 103 w 216"/>
                  <a:gd name="T9" fmla="*/ 145 h 188"/>
                  <a:gd name="T10" fmla="*/ 38 w 216"/>
                  <a:gd name="T11" fmla="*/ 66 h 188"/>
                  <a:gd name="T12" fmla="*/ 38 w 216"/>
                  <a:gd name="T13" fmla="*/ 188 h 188"/>
                  <a:gd name="T14" fmla="*/ 0 w 216"/>
                  <a:gd name="T15" fmla="*/ 188 h 188"/>
                  <a:gd name="T16" fmla="*/ 0 w 216"/>
                  <a:gd name="T17" fmla="*/ 20 h 188"/>
                  <a:gd name="T18" fmla="*/ 20 w 216"/>
                  <a:gd name="T19" fmla="*/ 0 h 188"/>
                  <a:gd name="T20" fmla="*/ 20 w 216"/>
                  <a:gd name="T21" fmla="*/ 0 h 188"/>
                  <a:gd name="T22" fmla="*/ 38 w 216"/>
                  <a:gd name="T23" fmla="*/ 9 h 188"/>
                  <a:gd name="T24" fmla="*/ 108 w 216"/>
                  <a:gd name="T25" fmla="*/ 94 h 188"/>
                  <a:gd name="T26" fmla="*/ 182 w 216"/>
                  <a:gd name="T27" fmla="*/ 6 h 188"/>
                  <a:gd name="T28" fmla="*/ 196 w 216"/>
                  <a:gd name="T29" fmla="*/ 0 h 188"/>
                  <a:gd name="T30" fmla="*/ 196 w 216"/>
                  <a:gd name="T31" fmla="*/ 0 h 188"/>
                  <a:gd name="T32" fmla="*/ 216 w 216"/>
                  <a:gd name="T33" fmla="*/ 19 h 188"/>
                  <a:gd name="T34" fmla="*/ 216 w 216"/>
                  <a:gd name="T35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16" h="188">
                    <a:moveTo>
                      <a:pt x="216" y="188"/>
                    </a:moveTo>
                    <a:cubicBezTo>
                      <a:pt x="178" y="188"/>
                      <a:pt x="178" y="188"/>
                      <a:pt x="178" y="188"/>
                    </a:cubicBezTo>
                    <a:cubicBezTo>
                      <a:pt x="178" y="66"/>
                      <a:pt x="178" y="66"/>
                      <a:pt x="178" y="66"/>
                    </a:cubicBezTo>
                    <a:cubicBezTo>
                      <a:pt x="113" y="145"/>
                      <a:pt x="113" y="145"/>
                      <a:pt x="113" y="145"/>
                    </a:cubicBezTo>
                    <a:cubicBezTo>
                      <a:pt x="110" y="148"/>
                      <a:pt x="106" y="148"/>
                      <a:pt x="103" y="145"/>
                    </a:cubicBezTo>
                    <a:cubicBezTo>
                      <a:pt x="38" y="66"/>
                      <a:pt x="38" y="66"/>
                      <a:pt x="38" y="66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8" y="0"/>
                      <a:pt x="32" y="3"/>
                      <a:pt x="38" y="9"/>
                    </a:cubicBezTo>
                    <a:cubicBezTo>
                      <a:pt x="108" y="94"/>
                      <a:pt x="108" y="94"/>
                      <a:pt x="108" y="94"/>
                    </a:cubicBezTo>
                    <a:cubicBezTo>
                      <a:pt x="182" y="6"/>
                      <a:pt x="182" y="6"/>
                      <a:pt x="182" y="6"/>
                    </a:cubicBezTo>
                    <a:cubicBezTo>
                      <a:pt x="185" y="2"/>
                      <a:pt x="190" y="0"/>
                      <a:pt x="196" y="0"/>
                    </a:cubicBezTo>
                    <a:cubicBezTo>
                      <a:pt x="196" y="0"/>
                      <a:pt x="196" y="0"/>
                      <a:pt x="196" y="0"/>
                    </a:cubicBezTo>
                    <a:cubicBezTo>
                      <a:pt x="207" y="0"/>
                      <a:pt x="216" y="8"/>
                      <a:pt x="216" y="19"/>
                    </a:cubicBezTo>
                    <a:lnTo>
                      <a:pt x="216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41" name="Freeform 7"/>
              <p:cNvSpPr>
                <a:spLocks noEditPoints="1"/>
              </p:cNvSpPr>
              <p:nvPr/>
            </p:nvSpPr>
            <p:spPr bwMode="auto">
              <a:xfrm>
                <a:off x="1350862" y="436723"/>
                <a:ext cx="146069" cy="128020"/>
              </a:xfrm>
              <a:custGeom>
                <a:avLst/>
                <a:gdLst>
                  <a:gd name="T0" fmla="*/ 0 w 216"/>
                  <a:gd name="T1" fmla="*/ 189 h 189"/>
                  <a:gd name="T2" fmla="*/ 42 w 216"/>
                  <a:gd name="T3" fmla="*/ 189 h 189"/>
                  <a:gd name="T4" fmla="*/ 66 w 216"/>
                  <a:gd name="T5" fmla="*/ 138 h 189"/>
                  <a:gd name="T6" fmla="*/ 148 w 216"/>
                  <a:gd name="T7" fmla="*/ 138 h 189"/>
                  <a:gd name="T8" fmla="*/ 174 w 216"/>
                  <a:gd name="T9" fmla="*/ 189 h 189"/>
                  <a:gd name="T10" fmla="*/ 216 w 216"/>
                  <a:gd name="T11" fmla="*/ 189 h 189"/>
                  <a:gd name="T12" fmla="*/ 124 w 216"/>
                  <a:gd name="T13" fmla="*/ 9 h 189"/>
                  <a:gd name="T14" fmla="*/ 106 w 216"/>
                  <a:gd name="T15" fmla="*/ 0 h 189"/>
                  <a:gd name="T16" fmla="*/ 106 w 216"/>
                  <a:gd name="T17" fmla="*/ 0 h 189"/>
                  <a:gd name="T18" fmla="*/ 89 w 216"/>
                  <a:gd name="T19" fmla="*/ 9 h 189"/>
                  <a:gd name="T20" fmla="*/ 0 w 216"/>
                  <a:gd name="T21" fmla="*/ 189 h 189"/>
                  <a:gd name="T22" fmla="*/ 106 w 216"/>
                  <a:gd name="T23" fmla="*/ 55 h 189"/>
                  <a:gd name="T24" fmla="*/ 133 w 216"/>
                  <a:gd name="T25" fmla="*/ 108 h 189"/>
                  <a:gd name="T26" fmla="*/ 81 w 216"/>
                  <a:gd name="T27" fmla="*/ 108 h 189"/>
                  <a:gd name="T28" fmla="*/ 106 w 216"/>
                  <a:gd name="T29" fmla="*/ 55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16" h="189">
                    <a:moveTo>
                      <a:pt x="0" y="189"/>
                    </a:moveTo>
                    <a:cubicBezTo>
                      <a:pt x="42" y="189"/>
                      <a:pt x="42" y="189"/>
                      <a:pt x="42" y="189"/>
                    </a:cubicBezTo>
                    <a:cubicBezTo>
                      <a:pt x="66" y="138"/>
                      <a:pt x="66" y="138"/>
                      <a:pt x="66" y="138"/>
                    </a:cubicBezTo>
                    <a:cubicBezTo>
                      <a:pt x="148" y="138"/>
                      <a:pt x="148" y="138"/>
                      <a:pt x="148" y="138"/>
                    </a:cubicBezTo>
                    <a:cubicBezTo>
                      <a:pt x="174" y="189"/>
                      <a:pt x="174" y="189"/>
                      <a:pt x="174" y="189"/>
                    </a:cubicBezTo>
                    <a:cubicBezTo>
                      <a:pt x="216" y="189"/>
                      <a:pt x="216" y="189"/>
                      <a:pt x="216" y="189"/>
                    </a:cubicBezTo>
                    <a:cubicBezTo>
                      <a:pt x="124" y="9"/>
                      <a:pt x="124" y="9"/>
                      <a:pt x="124" y="9"/>
                    </a:cubicBezTo>
                    <a:cubicBezTo>
                      <a:pt x="120" y="3"/>
                      <a:pt x="114" y="0"/>
                      <a:pt x="106" y="0"/>
                    </a:cubicBezTo>
                    <a:cubicBezTo>
                      <a:pt x="106" y="0"/>
                      <a:pt x="106" y="0"/>
                      <a:pt x="106" y="0"/>
                    </a:cubicBezTo>
                    <a:cubicBezTo>
                      <a:pt x="99" y="0"/>
                      <a:pt x="93" y="3"/>
                      <a:pt x="89" y="9"/>
                    </a:cubicBezTo>
                    <a:lnTo>
                      <a:pt x="0" y="189"/>
                    </a:lnTo>
                    <a:close/>
                    <a:moveTo>
                      <a:pt x="106" y="55"/>
                    </a:moveTo>
                    <a:cubicBezTo>
                      <a:pt x="133" y="108"/>
                      <a:pt x="133" y="108"/>
                      <a:pt x="133" y="108"/>
                    </a:cubicBezTo>
                    <a:cubicBezTo>
                      <a:pt x="81" y="108"/>
                      <a:pt x="81" y="108"/>
                      <a:pt x="81" y="108"/>
                    </a:cubicBezTo>
                    <a:lnTo>
                      <a:pt x="106" y="5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42" name="Freeform 8"/>
              <p:cNvSpPr>
                <a:spLocks/>
              </p:cNvSpPr>
              <p:nvPr/>
            </p:nvSpPr>
            <p:spPr bwMode="auto">
              <a:xfrm>
                <a:off x="789211" y="437296"/>
                <a:ext cx="128598" cy="127448"/>
              </a:xfrm>
              <a:custGeom>
                <a:avLst/>
                <a:gdLst>
                  <a:gd name="T0" fmla="*/ 190 w 190"/>
                  <a:gd name="T1" fmla="*/ 188 h 188"/>
                  <a:gd name="T2" fmla="*/ 163 w 190"/>
                  <a:gd name="T3" fmla="*/ 188 h 188"/>
                  <a:gd name="T4" fmla="*/ 38 w 190"/>
                  <a:gd name="T5" fmla="*/ 62 h 188"/>
                  <a:gd name="T6" fmla="*/ 38 w 190"/>
                  <a:gd name="T7" fmla="*/ 188 h 188"/>
                  <a:gd name="T8" fmla="*/ 0 w 190"/>
                  <a:gd name="T9" fmla="*/ 188 h 188"/>
                  <a:gd name="T10" fmla="*/ 0 w 190"/>
                  <a:gd name="T11" fmla="*/ 20 h 188"/>
                  <a:gd name="T12" fmla="*/ 21 w 190"/>
                  <a:gd name="T13" fmla="*/ 0 h 188"/>
                  <a:gd name="T14" fmla="*/ 21 w 190"/>
                  <a:gd name="T15" fmla="*/ 0 h 188"/>
                  <a:gd name="T16" fmla="*/ 36 w 190"/>
                  <a:gd name="T17" fmla="*/ 6 h 188"/>
                  <a:gd name="T18" fmla="*/ 152 w 190"/>
                  <a:gd name="T19" fmla="*/ 123 h 188"/>
                  <a:gd name="T20" fmla="*/ 152 w 190"/>
                  <a:gd name="T21" fmla="*/ 12 h 188"/>
                  <a:gd name="T22" fmla="*/ 165 w 190"/>
                  <a:gd name="T23" fmla="*/ 0 h 188"/>
                  <a:gd name="T24" fmla="*/ 178 w 190"/>
                  <a:gd name="T25" fmla="*/ 0 h 188"/>
                  <a:gd name="T26" fmla="*/ 190 w 190"/>
                  <a:gd name="T27" fmla="*/ 12 h 188"/>
                  <a:gd name="T28" fmla="*/ 190 w 190"/>
                  <a:gd name="T29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0" h="188">
                    <a:moveTo>
                      <a:pt x="190" y="188"/>
                    </a:moveTo>
                    <a:cubicBezTo>
                      <a:pt x="163" y="188"/>
                      <a:pt x="163" y="188"/>
                      <a:pt x="163" y="188"/>
                    </a:cubicBezTo>
                    <a:cubicBezTo>
                      <a:pt x="38" y="62"/>
                      <a:pt x="38" y="62"/>
                      <a:pt x="38" y="62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1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7" y="0"/>
                      <a:pt x="32" y="2"/>
                      <a:pt x="36" y="6"/>
                    </a:cubicBezTo>
                    <a:cubicBezTo>
                      <a:pt x="152" y="123"/>
                      <a:pt x="152" y="123"/>
                      <a:pt x="152" y="123"/>
                    </a:cubicBezTo>
                    <a:cubicBezTo>
                      <a:pt x="152" y="12"/>
                      <a:pt x="152" y="12"/>
                      <a:pt x="152" y="12"/>
                    </a:cubicBezTo>
                    <a:cubicBezTo>
                      <a:pt x="152" y="5"/>
                      <a:pt x="158" y="0"/>
                      <a:pt x="165" y="0"/>
                    </a:cubicBezTo>
                    <a:cubicBezTo>
                      <a:pt x="178" y="0"/>
                      <a:pt x="178" y="0"/>
                      <a:pt x="178" y="0"/>
                    </a:cubicBezTo>
                    <a:cubicBezTo>
                      <a:pt x="185" y="0"/>
                      <a:pt x="190" y="5"/>
                      <a:pt x="190" y="12"/>
                    </a:cubicBezTo>
                    <a:lnTo>
                      <a:pt x="190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43" name="Freeform 9"/>
              <p:cNvSpPr>
                <a:spLocks noEditPoints="1"/>
              </p:cNvSpPr>
              <p:nvPr/>
            </p:nvSpPr>
            <p:spPr bwMode="auto">
              <a:xfrm>
                <a:off x="943586" y="437296"/>
                <a:ext cx="127739" cy="127448"/>
              </a:xfrm>
              <a:custGeom>
                <a:avLst/>
                <a:gdLst>
                  <a:gd name="T0" fmla="*/ 117 w 189"/>
                  <a:gd name="T1" fmla="*/ 4 h 188"/>
                  <a:gd name="T2" fmla="*/ 72 w 189"/>
                  <a:gd name="T3" fmla="*/ 0 h 188"/>
                  <a:gd name="T4" fmla="*/ 19 w 189"/>
                  <a:gd name="T5" fmla="*/ 0 h 188"/>
                  <a:gd name="T6" fmla="*/ 0 w 189"/>
                  <a:gd name="T7" fmla="*/ 18 h 188"/>
                  <a:gd name="T8" fmla="*/ 0 w 189"/>
                  <a:gd name="T9" fmla="*/ 188 h 188"/>
                  <a:gd name="T10" fmla="*/ 62 w 189"/>
                  <a:gd name="T11" fmla="*/ 188 h 188"/>
                  <a:gd name="T12" fmla="*/ 115 w 189"/>
                  <a:gd name="T13" fmla="*/ 182 h 188"/>
                  <a:gd name="T14" fmla="*/ 189 w 189"/>
                  <a:gd name="T15" fmla="*/ 91 h 188"/>
                  <a:gd name="T16" fmla="*/ 117 w 189"/>
                  <a:gd name="T17" fmla="*/ 4 h 188"/>
                  <a:gd name="T18" fmla="*/ 105 w 189"/>
                  <a:gd name="T19" fmla="*/ 148 h 188"/>
                  <a:gd name="T20" fmla="*/ 62 w 189"/>
                  <a:gd name="T21" fmla="*/ 153 h 188"/>
                  <a:gd name="T22" fmla="*/ 62 w 189"/>
                  <a:gd name="T23" fmla="*/ 153 h 188"/>
                  <a:gd name="T24" fmla="*/ 38 w 189"/>
                  <a:gd name="T25" fmla="*/ 153 h 188"/>
                  <a:gd name="T26" fmla="*/ 38 w 189"/>
                  <a:gd name="T27" fmla="*/ 153 h 188"/>
                  <a:gd name="T28" fmla="*/ 38 w 189"/>
                  <a:gd name="T29" fmla="*/ 34 h 188"/>
                  <a:gd name="T30" fmla="*/ 38 w 189"/>
                  <a:gd name="T31" fmla="*/ 34 h 188"/>
                  <a:gd name="T32" fmla="*/ 68 w 189"/>
                  <a:gd name="T33" fmla="*/ 34 h 188"/>
                  <a:gd name="T34" fmla="*/ 68 w 189"/>
                  <a:gd name="T35" fmla="*/ 34 h 188"/>
                  <a:gd name="T36" fmla="*/ 107 w 189"/>
                  <a:gd name="T37" fmla="*/ 38 h 188"/>
                  <a:gd name="T38" fmla="*/ 150 w 189"/>
                  <a:gd name="T39" fmla="*/ 91 h 188"/>
                  <a:gd name="T40" fmla="*/ 105 w 189"/>
                  <a:gd name="T41" fmla="*/ 14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89" h="188">
                    <a:moveTo>
                      <a:pt x="117" y="4"/>
                    </a:moveTo>
                    <a:cubicBezTo>
                      <a:pt x="104" y="1"/>
                      <a:pt x="89" y="0"/>
                      <a:pt x="72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9" y="0"/>
                      <a:pt x="0" y="8"/>
                      <a:pt x="0" y="1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62" y="188"/>
                      <a:pt x="62" y="188"/>
                      <a:pt x="62" y="188"/>
                    </a:cubicBezTo>
                    <a:cubicBezTo>
                      <a:pt x="84" y="188"/>
                      <a:pt x="100" y="186"/>
                      <a:pt x="115" y="182"/>
                    </a:cubicBezTo>
                    <a:cubicBezTo>
                      <a:pt x="163" y="168"/>
                      <a:pt x="189" y="136"/>
                      <a:pt x="189" y="91"/>
                    </a:cubicBezTo>
                    <a:cubicBezTo>
                      <a:pt x="189" y="46"/>
                      <a:pt x="164" y="15"/>
                      <a:pt x="117" y="4"/>
                    </a:cubicBezTo>
                    <a:close/>
                    <a:moveTo>
                      <a:pt x="105" y="148"/>
                    </a:moveTo>
                    <a:cubicBezTo>
                      <a:pt x="94" y="151"/>
                      <a:pt x="79" y="153"/>
                      <a:pt x="62" y="153"/>
                    </a:cubicBezTo>
                    <a:cubicBezTo>
                      <a:pt x="62" y="153"/>
                      <a:pt x="62" y="153"/>
                      <a:pt x="62" y="153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68" y="34"/>
                      <a:pt x="68" y="34"/>
                      <a:pt x="68" y="34"/>
                    </a:cubicBezTo>
                    <a:cubicBezTo>
                      <a:pt x="68" y="34"/>
                      <a:pt x="68" y="34"/>
                      <a:pt x="68" y="34"/>
                    </a:cubicBezTo>
                    <a:cubicBezTo>
                      <a:pt x="86" y="34"/>
                      <a:pt x="97" y="35"/>
                      <a:pt x="107" y="38"/>
                    </a:cubicBezTo>
                    <a:cubicBezTo>
                      <a:pt x="136" y="46"/>
                      <a:pt x="150" y="63"/>
                      <a:pt x="150" y="91"/>
                    </a:cubicBezTo>
                    <a:cubicBezTo>
                      <a:pt x="150" y="120"/>
                      <a:pt x="135" y="139"/>
                      <a:pt x="105" y="14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44" name="Freeform 10"/>
              <p:cNvSpPr>
                <a:spLocks noEditPoints="1"/>
              </p:cNvSpPr>
              <p:nvPr/>
            </p:nvSpPr>
            <p:spPr bwMode="auto">
              <a:xfrm>
                <a:off x="1513256" y="437296"/>
                <a:ext cx="110841" cy="127448"/>
              </a:xfrm>
              <a:custGeom>
                <a:avLst/>
                <a:gdLst>
                  <a:gd name="T0" fmla="*/ 113 w 164"/>
                  <a:gd name="T1" fmla="*/ 113 h 188"/>
                  <a:gd name="T2" fmla="*/ 158 w 164"/>
                  <a:gd name="T3" fmla="*/ 58 h 188"/>
                  <a:gd name="T4" fmla="*/ 82 w 164"/>
                  <a:gd name="T5" fmla="*/ 0 h 188"/>
                  <a:gd name="T6" fmla="*/ 19 w 164"/>
                  <a:gd name="T7" fmla="*/ 0 h 188"/>
                  <a:gd name="T8" fmla="*/ 0 w 164"/>
                  <a:gd name="T9" fmla="*/ 18 h 188"/>
                  <a:gd name="T10" fmla="*/ 0 w 164"/>
                  <a:gd name="T11" fmla="*/ 188 h 188"/>
                  <a:gd name="T12" fmla="*/ 38 w 164"/>
                  <a:gd name="T13" fmla="*/ 188 h 188"/>
                  <a:gd name="T14" fmla="*/ 38 w 164"/>
                  <a:gd name="T15" fmla="*/ 118 h 188"/>
                  <a:gd name="T16" fmla="*/ 72 w 164"/>
                  <a:gd name="T17" fmla="*/ 118 h 188"/>
                  <a:gd name="T18" fmla="*/ 119 w 164"/>
                  <a:gd name="T19" fmla="*/ 188 h 188"/>
                  <a:gd name="T20" fmla="*/ 164 w 164"/>
                  <a:gd name="T21" fmla="*/ 188 h 188"/>
                  <a:gd name="T22" fmla="*/ 113 w 164"/>
                  <a:gd name="T23" fmla="*/ 113 h 188"/>
                  <a:gd name="T24" fmla="*/ 38 w 164"/>
                  <a:gd name="T25" fmla="*/ 83 h 188"/>
                  <a:gd name="T26" fmla="*/ 38 w 164"/>
                  <a:gd name="T27" fmla="*/ 34 h 188"/>
                  <a:gd name="T28" fmla="*/ 85 w 164"/>
                  <a:gd name="T29" fmla="*/ 34 h 188"/>
                  <a:gd name="T30" fmla="*/ 118 w 164"/>
                  <a:gd name="T31" fmla="*/ 59 h 188"/>
                  <a:gd name="T32" fmla="*/ 77 w 164"/>
                  <a:gd name="T33" fmla="*/ 83 h 188"/>
                  <a:gd name="T34" fmla="*/ 38 w 164"/>
                  <a:gd name="T35" fmla="*/ 83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4" h="188">
                    <a:moveTo>
                      <a:pt x="113" y="113"/>
                    </a:moveTo>
                    <a:cubicBezTo>
                      <a:pt x="142" y="105"/>
                      <a:pt x="158" y="86"/>
                      <a:pt x="158" y="58"/>
                    </a:cubicBezTo>
                    <a:cubicBezTo>
                      <a:pt x="158" y="22"/>
                      <a:pt x="129" y="0"/>
                      <a:pt x="82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8" y="0"/>
                      <a:pt x="0" y="8"/>
                      <a:pt x="0" y="1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38" y="118"/>
                      <a:pt x="38" y="118"/>
                      <a:pt x="38" y="118"/>
                    </a:cubicBezTo>
                    <a:cubicBezTo>
                      <a:pt x="72" y="118"/>
                      <a:pt x="72" y="118"/>
                      <a:pt x="72" y="118"/>
                    </a:cubicBezTo>
                    <a:cubicBezTo>
                      <a:pt x="119" y="188"/>
                      <a:pt x="119" y="188"/>
                      <a:pt x="119" y="188"/>
                    </a:cubicBezTo>
                    <a:cubicBezTo>
                      <a:pt x="164" y="188"/>
                      <a:pt x="164" y="188"/>
                      <a:pt x="164" y="188"/>
                    </a:cubicBezTo>
                    <a:lnTo>
                      <a:pt x="113" y="113"/>
                    </a:lnTo>
                    <a:close/>
                    <a:moveTo>
                      <a:pt x="38" y="83"/>
                    </a:moveTo>
                    <a:cubicBezTo>
                      <a:pt x="38" y="34"/>
                      <a:pt x="38" y="34"/>
                      <a:pt x="38" y="34"/>
                    </a:cubicBezTo>
                    <a:cubicBezTo>
                      <a:pt x="85" y="34"/>
                      <a:pt x="85" y="34"/>
                      <a:pt x="85" y="34"/>
                    </a:cubicBezTo>
                    <a:cubicBezTo>
                      <a:pt x="98" y="34"/>
                      <a:pt x="118" y="38"/>
                      <a:pt x="118" y="59"/>
                    </a:cubicBezTo>
                    <a:cubicBezTo>
                      <a:pt x="118" y="69"/>
                      <a:pt x="114" y="83"/>
                      <a:pt x="77" y="83"/>
                    </a:cubicBezTo>
                    <a:lnTo>
                      <a:pt x="38" y="8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45" name="Freeform 11"/>
              <p:cNvSpPr>
                <a:spLocks/>
              </p:cNvSpPr>
              <p:nvPr/>
            </p:nvSpPr>
            <p:spPr bwMode="auto">
              <a:xfrm>
                <a:off x="738516" y="437296"/>
                <a:ext cx="25777" cy="127448"/>
              </a:xfrm>
              <a:custGeom>
                <a:avLst/>
                <a:gdLst>
                  <a:gd name="T0" fmla="*/ 0 w 38"/>
                  <a:gd name="T1" fmla="*/ 188 h 188"/>
                  <a:gd name="T2" fmla="*/ 38 w 38"/>
                  <a:gd name="T3" fmla="*/ 188 h 188"/>
                  <a:gd name="T4" fmla="*/ 38 w 38"/>
                  <a:gd name="T5" fmla="*/ 12 h 188"/>
                  <a:gd name="T6" fmla="*/ 25 w 38"/>
                  <a:gd name="T7" fmla="*/ 0 h 188"/>
                  <a:gd name="T8" fmla="*/ 13 w 38"/>
                  <a:gd name="T9" fmla="*/ 0 h 188"/>
                  <a:gd name="T10" fmla="*/ 0 w 38"/>
                  <a:gd name="T11" fmla="*/ 12 h 188"/>
                  <a:gd name="T12" fmla="*/ 0 w 38"/>
                  <a:gd name="T13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" h="188">
                    <a:moveTo>
                      <a:pt x="0" y="188"/>
                    </a:moveTo>
                    <a:cubicBezTo>
                      <a:pt x="38" y="188"/>
                      <a:pt x="38" y="188"/>
                      <a:pt x="38" y="188"/>
                    </a:cubicBezTo>
                    <a:cubicBezTo>
                      <a:pt x="38" y="12"/>
                      <a:pt x="38" y="12"/>
                      <a:pt x="38" y="12"/>
                    </a:cubicBezTo>
                    <a:cubicBezTo>
                      <a:pt x="38" y="5"/>
                      <a:pt x="32" y="0"/>
                      <a:pt x="25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0" y="5"/>
                      <a:pt x="0" y="12"/>
                    </a:cubicBezTo>
                    <a:lnTo>
                      <a:pt x="0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46" name="Freeform 12"/>
              <p:cNvSpPr>
                <a:spLocks/>
              </p:cNvSpPr>
              <p:nvPr/>
            </p:nvSpPr>
            <p:spPr bwMode="auto">
              <a:xfrm>
                <a:off x="1217394" y="437296"/>
                <a:ext cx="118001" cy="127448"/>
              </a:xfrm>
              <a:custGeom>
                <a:avLst/>
                <a:gdLst>
                  <a:gd name="T0" fmla="*/ 174 w 174"/>
                  <a:gd name="T1" fmla="*/ 188 h 188"/>
                  <a:gd name="T2" fmla="*/ 137 w 174"/>
                  <a:gd name="T3" fmla="*/ 188 h 188"/>
                  <a:gd name="T4" fmla="*/ 137 w 174"/>
                  <a:gd name="T5" fmla="*/ 110 h 188"/>
                  <a:gd name="T6" fmla="*/ 38 w 174"/>
                  <a:gd name="T7" fmla="*/ 110 h 188"/>
                  <a:gd name="T8" fmla="*/ 38 w 174"/>
                  <a:gd name="T9" fmla="*/ 188 h 188"/>
                  <a:gd name="T10" fmla="*/ 0 w 174"/>
                  <a:gd name="T11" fmla="*/ 188 h 188"/>
                  <a:gd name="T12" fmla="*/ 0 w 174"/>
                  <a:gd name="T13" fmla="*/ 12 h 188"/>
                  <a:gd name="T14" fmla="*/ 13 w 174"/>
                  <a:gd name="T15" fmla="*/ 0 h 188"/>
                  <a:gd name="T16" fmla="*/ 25 w 174"/>
                  <a:gd name="T17" fmla="*/ 0 h 188"/>
                  <a:gd name="T18" fmla="*/ 38 w 174"/>
                  <a:gd name="T19" fmla="*/ 12 h 188"/>
                  <a:gd name="T20" fmla="*/ 38 w 174"/>
                  <a:gd name="T21" fmla="*/ 75 h 188"/>
                  <a:gd name="T22" fmla="*/ 137 w 174"/>
                  <a:gd name="T23" fmla="*/ 75 h 188"/>
                  <a:gd name="T24" fmla="*/ 137 w 174"/>
                  <a:gd name="T25" fmla="*/ 12 h 188"/>
                  <a:gd name="T26" fmla="*/ 149 w 174"/>
                  <a:gd name="T27" fmla="*/ 0 h 188"/>
                  <a:gd name="T28" fmla="*/ 162 w 174"/>
                  <a:gd name="T29" fmla="*/ 0 h 188"/>
                  <a:gd name="T30" fmla="*/ 174 w 174"/>
                  <a:gd name="T31" fmla="*/ 12 h 188"/>
                  <a:gd name="T32" fmla="*/ 174 w 174"/>
                  <a:gd name="T33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4" h="188">
                    <a:moveTo>
                      <a:pt x="174" y="188"/>
                    </a:moveTo>
                    <a:cubicBezTo>
                      <a:pt x="137" y="188"/>
                      <a:pt x="137" y="188"/>
                      <a:pt x="137" y="188"/>
                    </a:cubicBezTo>
                    <a:cubicBezTo>
                      <a:pt x="137" y="110"/>
                      <a:pt x="137" y="110"/>
                      <a:pt x="137" y="110"/>
                    </a:cubicBezTo>
                    <a:cubicBezTo>
                      <a:pt x="38" y="110"/>
                      <a:pt x="38" y="110"/>
                      <a:pt x="38" y="110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6" y="0"/>
                      <a:pt x="13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32" y="0"/>
                      <a:pt x="38" y="5"/>
                      <a:pt x="38" y="12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137" y="75"/>
                      <a:pt x="137" y="75"/>
                      <a:pt x="137" y="75"/>
                    </a:cubicBezTo>
                    <a:cubicBezTo>
                      <a:pt x="137" y="12"/>
                      <a:pt x="137" y="12"/>
                      <a:pt x="137" y="12"/>
                    </a:cubicBezTo>
                    <a:cubicBezTo>
                      <a:pt x="137" y="5"/>
                      <a:pt x="142" y="0"/>
                      <a:pt x="149" y="0"/>
                    </a:cubicBezTo>
                    <a:cubicBezTo>
                      <a:pt x="162" y="0"/>
                      <a:pt x="162" y="0"/>
                      <a:pt x="162" y="0"/>
                    </a:cubicBezTo>
                    <a:cubicBezTo>
                      <a:pt x="169" y="0"/>
                      <a:pt x="174" y="5"/>
                      <a:pt x="174" y="12"/>
                    </a:cubicBezTo>
                    <a:lnTo>
                      <a:pt x="174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47" name="Freeform 13"/>
              <p:cNvSpPr>
                <a:spLocks/>
              </p:cNvSpPr>
              <p:nvPr/>
            </p:nvSpPr>
            <p:spPr bwMode="auto">
              <a:xfrm>
                <a:off x="1085646" y="435864"/>
                <a:ext cx="108836" cy="130025"/>
              </a:xfrm>
              <a:custGeom>
                <a:avLst/>
                <a:gdLst>
                  <a:gd name="T0" fmla="*/ 90 w 161"/>
                  <a:gd name="T1" fmla="*/ 78 h 192"/>
                  <a:gd name="T2" fmla="*/ 46 w 161"/>
                  <a:gd name="T3" fmla="*/ 56 h 192"/>
                  <a:gd name="T4" fmla="*/ 83 w 161"/>
                  <a:gd name="T5" fmla="*/ 36 h 192"/>
                  <a:gd name="T6" fmla="*/ 139 w 161"/>
                  <a:gd name="T7" fmla="*/ 49 h 192"/>
                  <a:gd name="T8" fmla="*/ 140 w 161"/>
                  <a:gd name="T9" fmla="*/ 49 h 192"/>
                  <a:gd name="T10" fmla="*/ 145 w 161"/>
                  <a:gd name="T11" fmla="*/ 47 h 192"/>
                  <a:gd name="T12" fmla="*/ 156 w 161"/>
                  <a:gd name="T13" fmla="*/ 25 h 192"/>
                  <a:gd name="T14" fmla="*/ 156 w 161"/>
                  <a:gd name="T15" fmla="*/ 23 h 192"/>
                  <a:gd name="T16" fmla="*/ 153 w 161"/>
                  <a:gd name="T17" fmla="*/ 18 h 192"/>
                  <a:gd name="T18" fmla="*/ 152 w 161"/>
                  <a:gd name="T19" fmla="*/ 17 h 192"/>
                  <a:gd name="T20" fmla="*/ 81 w 161"/>
                  <a:gd name="T21" fmla="*/ 0 h 192"/>
                  <a:gd name="T22" fmla="*/ 7 w 161"/>
                  <a:gd name="T23" fmla="*/ 57 h 192"/>
                  <a:gd name="T24" fmla="*/ 25 w 161"/>
                  <a:gd name="T25" fmla="*/ 96 h 192"/>
                  <a:gd name="T26" fmla="*/ 80 w 161"/>
                  <a:gd name="T27" fmla="*/ 113 h 192"/>
                  <a:gd name="T28" fmla="*/ 122 w 161"/>
                  <a:gd name="T29" fmla="*/ 133 h 192"/>
                  <a:gd name="T30" fmla="*/ 78 w 161"/>
                  <a:gd name="T31" fmla="*/ 157 h 192"/>
                  <a:gd name="T32" fmla="*/ 22 w 161"/>
                  <a:gd name="T33" fmla="*/ 142 h 192"/>
                  <a:gd name="T34" fmla="*/ 18 w 161"/>
                  <a:gd name="T35" fmla="*/ 139 h 192"/>
                  <a:gd name="T36" fmla="*/ 15 w 161"/>
                  <a:gd name="T37" fmla="*/ 143 h 192"/>
                  <a:gd name="T38" fmla="*/ 2 w 161"/>
                  <a:gd name="T39" fmla="*/ 166 h 192"/>
                  <a:gd name="T40" fmla="*/ 0 w 161"/>
                  <a:gd name="T41" fmla="*/ 170 h 192"/>
                  <a:gd name="T42" fmla="*/ 4 w 161"/>
                  <a:gd name="T43" fmla="*/ 172 h 192"/>
                  <a:gd name="T44" fmla="*/ 77 w 161"/>
                  <a:gd name="T45" fmla="*/ 192 h 192"/>
                  <a:gd name="T46" fmla="*/ 161 w 161"/>
                  <a:gd name="T47" fmla="*/ 132 h 192"/>
                  <a:gd name="T48" fmla="*/ 90 w 161"/>
                  <a:gd name="T49" fmla="*/ 78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61" h="192">
                    <a:moveTo>
                      <a:pt x="90" y="78"/>
                    </a:moveTo>
                    <a:cubicBezTo>
                      <a:pt x="63" y="74"/>
                      <a:pt x="46" y="71"/>
                      <a:pt x="46" y="56"/>
                    </a:cubicBezTo>
                    <a:cubicBezTo>
                      <a:pt x="46" y="43"/>
                      <a:pt x="60" y="36"/>
                      <a:pt x="83" y="36"/>
                    </a:cubicBezTo>
                    <a:cubicBezTo>
                      <a:pt x="109" y="36"/>
                      <a:pt x="130" y="45"/>
                      <a:pt x="139" y="49"/>
                    </a:cubicBezTo>
                    <a:cubicBezTo>
                      <a:pt x="139" y="49"/>
                      <a:pt x="139" y="49"/>
                      <a:pt x="140" y="49"/>
                    </a:cubicBezTo>
                    <a:cubicBezTo>
                      <a:pt x="142" y="49"/>
                      <a:pt x="144" y="49"/>
                      <a:pt x="145" y="47"/>
                    </a:cubicBezTo>
                    <a:cubicBezTo>
                      <a:pt x="156" y="25"/>
                      <a:pt x="156" y="25"/>
                      <a:pt x="156" y="25"/>
                    </a:cubicBezTo>
                    <a:cubicBezTo>
                      <a:pt x="156" y="24"/>
                      <a:pt x="156" y="23"/>
                      <a:pt x="156" y="23"/>
                    </a:cubicBezTo>
                    <a:cubicBezTo>
                      <a:pt x="156" y="21"/>
                      <a:pt x="155" y="19"/>
                      <a:pt x="153" y="18"/>
                    </a:cubicBezTo>
                    <a:cubicBezTo>
                      <a:pt x="152" y="17"/>
                      <a:pt x="152" y="17"/>
                      <a:pt x="152" y="17"/>
                    </a:cubicBezTo>
                    <a:cubicBezTo>
                      <a:pt x="133" y="7"/>
                      <a:pt x="106" y="0"/>
                      <a:pt x="81" y="0"/>
                    </a:cubicBezTo>
                    <a:cubicBezTo>
                      <a:pt x="35" y="0"/>
                      <a:pt x="7" y="22"/>
                      <a:pt x="7" y="57"/>
                    </a:cubicBezTo>
                    <a:cubicBezTo>
                      <a:pt x="7" y="75"/>
                      <a:pt x="13" y="87"/>
                      <a:pt x="25" y="96"/>
                    </a:cubicBezTo>
                    <a:cubicBezTo>
                      <a:pt x="40" y="107"/>
                      <a:pt x="61" y="110"/>
                      <a:pt x="80" y="113"/>
                    </a:cubicBezTo>
                    <a:cubicBezTo>
                      <a:pt x="106" y="117"/>
                      <a:pt x="122" y="119"/>
                      <a:pt x="122" y="133"/>
                    </a:cubicBezTo>
                    <a:cubicBezTo>
                      <a:pt x="122" y="155"/>
                      <a:pt x="91" y="157"/>
                      <a:pt x="78" y="157"/>
                    </a:cubicBezTo>
                    <a:cubicBezTo>
                      <a:pt x="57" y="157"/>
                      <a:pt x="38" y="152"/>
                      <a:pt x="22" y="142"/>
                    </a:cubicBezTo>
                    <a:cubicBezTo>
                      <a:pt x="18" y="139"/>
                      <a:pt x="18" y="139"/>
                      <a:pt x="18" y="139"/>
                    </a:cubicBezTo>
                    <a:cubicBezTo>
                      <a:pt x="15" y="143"/>
                      <a:pt x="15" y="143"/>
                      <a:pt x="15" y="143"/>
                    </a:cubicBezTo>
                    <a:cubicBezTo>
                      <a:pt x="2" y="166"/>
                      <a:pt x="2" y="166"/>
                      <a:pt x="2" y="166"/>
                    </a:cubicBezTo>
                    <a:cubicBezTo>
                      <a:pt x="0" y="170"/>
                      <a:pt x="0" y="170"/>
                      <a:pt x="0" y="170"/>
                    </a:cubicBezTo>
                    <a:cubicBezTo>
                      <a:pt x="4" y="172"/>
                      <a:pt x="4" y="172"/>
                      <a:pt x="4" y="172"/>
                    </a:cubicBezTo>
                    <a:cubicBezTo>
                      <a:pt x="18" y="181"/>
                      <a:pt x="42" y="192"/>
                      <a:pt x="77" y="192"/>
                    </a:cubicBezTo>
                    <a:cubicBezTo>
                      <a:pt x="128" y="192"/>
                      <a:pt x="161" y="169"/>
                      <a:pt x="161" y="132"/>
                    </a:cubicBezTo>
                    <a:cubicBezTo>
                      <a:pt x="161" y="88"/>
                      <a:pt x="122" y="82"/>
                      <a:pt x="90" y="7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48" name="Freeform 14"/>
              <p:cNvSpPr>
                <a:spLocks/>
              </p:cNvSpPr>
              <p:nvPr/>
            </p:nvSpPr>
            <p:spPr bwMode="auto">
              <a:xfrm>
                <a:off x="1642427" y="437296"/>
                <a:ext cx="93943" cy="127448"/>
              </a:xfrm>
              <a:custGeom>
                <a:avLst/>
                <a:gdLst>
                  <a:gd name="T0" fmla="*/ 128 w 139"/>
                  <a:gd name="T1" fmla="*/ 103 h 188"/>
                  <a:gd name="T2" fmla="*/ 121 w 139"/>
                  <a:gd name="T3" fmla="*/ 110 h 188"/>
                  <a:gd name="T4" fmla="*/ 38 w 139"/>
                  <a:gd name="T5" fmla="*/ 110 h 188"/>
                  <a:gd name="T6" fmla="*/ 38 w 139"/>
                  <a:gd name="T7" fmla="*/ 153 h 188"/>
                  <a:gd name="T8" fmla="*/ 139 w 139"/>
                  <a:gd name="T9" fmla="*/ 153 h 188"/>
                  <a:gd name="T10" fmla="*/ 139 w 139"/>
                  <a:gd name="T11" fmla="*/ 188 h 188"/>
                  <a:gd name="T12" fmla="*/ 0 w 139"/>
                  <a:gd name="T13" fmla="*/ 188 h 188"/>
                  <a:gd name="T14" fmla="*/ 0 w 139"/>
                  <a:gd name="T15" fmla="*/ 18 h 188"/>
                  <a:gd name="T16" fmla="*/ 19 w 139"/>
                  <a:gd name="T17" fmla="*/ 0 h 188"/>
                  <a:gd name="T18" fmla="*/ 130 w 139"/>
                  <a:gd name="T19" fmla="*/ 0 h 188"/>
                  <a:gd name="T20" fmla="*/ 137 w 139"/>
                  <a:gd name="T21" fmla="*/ 6 h 188"/>
                  <a:gd name="T22" fmla="*/ 137 w 139"/>
                  <a:gd name="T23" fmla="*/ 27 h 188"/>
                  <a:gd name="T24" fmla="*/ 130 w 139"/>
                  <a:gd name="T25" fmla="*/ 34 h 188"/>
                  <a:gd name="T26" fmla="*/ 38 w 139"/>
                  <a:gd name="T27" fmla="*/ 34 h 188"/>
                  <a:gd name="T28" fmla="*/ 38 w 139"/>
                  <a:gd name="T29" fmla="*/ 75 h 188"/>
                  <a:gd name="T30" fmla="*/ 121 w 139"/>
                  <a:gd name="T31" fmla="*/ 75 h 188"/>
                  <a:gd name="T32" fmla="*/ 128 w 139"/>
                  <a:gd name="T33" fmla="*/ 82 h 188"/>
                  <a:gd name="T34" fmla="*/ 128 w 139"/>
                  <a:gd name="T35" fmla="*/ 103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9" h="188">
                    <a:moveTo>
                      <a:pt x="128" y="103"/>
                    </a:moveTo>
                    <a:cubicBezTo>
                      <a:pt x="128" y="107"/>
                      <a:pt x="124" y="110"/>
                      <a:pt x="121" y="110"/>
                    </a:cubicBezTo>
                    <a:cubicBezTo>
                      <a:pt x="38" y="110"/>
                      <a:pt x="38" y="110"/>
                      <a:pt x="38" y="110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139" y="153"/>
                      <a:pt x="139" y="153"/>
                      <a:pt x="139" y="153"/>
                    </a:cubicBezTo>
                    <a:cubicBezTo>
                      <a:pt x="139" y="188"/>
                      <a:pt x="139" y="188"/>
                      <a:pt x="139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9" y="0"/>
                      <a:pt x="19" y="0"/>
                    </a:cubicBezTo>
                    <a:cubicBezTo>
                      <a:pt x="130" y="0"/>
                      <a:pt x="130" y="0"/>
                      <a:pt x="130" y="0"/>
                    </a:cubicBezTo>
                    <a:cubicBezTo>
                      <a:pt x="134" y="0"/>
                      <a:pt x="137" y="2"/>
                      <a:pt x="137" y="6"/>
                    </a:cubicBezTo>
                    <a:cubicBezTo>
                      <a:pt x="137" y="27"/>
                      <a:pt x="137" y="27"/>
                      <a:pt x="137" y="27"/>
                    </a:cubicBezTo>
                    <a:cubicBezTo>
                      <a:pt x="137" y="32"/>
                      <a:pt x="134" y="34"/>
                      <a:pt x="130" y="34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121" y="75"/>
                      <a:pt x="121" y="75"/>
                      <a:pt x="121" y="75"/>
                    </a:cubicBezTo>
                    <a:cubicBezTo>
                      <a:pt x="124" y="75"/>
                      <a:pt x="128" y="77"/>
                      <a:pt x="128" y="82"/>
                    </a:cubicBezTo>
                    <a:lnTo>
                      <a:pt x="128" y="10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</p:grpSp>
      </p:grpSp>
      <p:cxnSp>
        <p:nvCxnSpPr>
          <p:cNvPr id="23" name="Straight Connector 22"/>
          <p:cNvCxnSpPr/>
          <p:nvPr userDrawn="1"/>
        </p:nvCxnSpPr>
        <p:spPr>
          <a:xfrm>
            <a:off x="2497138" y="1223963"/>
            <a:ext cx="628792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358546" y="1223963"/>
            <a:ext cx="1960792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8638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5"/>
          <p:cNvSpPr>
            <a:spLocks noGrp="1" noChangeArrowheads="1"/>
          </p:cNvSpPr>
          <p:nvPr>
            <p:ph type="body" idx="1"/>
          </p:nvPr>
        </p:nvSpPr>
        <p:spPr>
          <a:xfrm>
            <a:off x="185737" y="778287"/>
            <a:ext cx="8701943" cy="32949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buClr>
                <a:srgbClr val="A71930"/>
              </a:buClr>
              <a:buFontTx/>
              <a:buBlip>
                <a:blip r:embed="rId2"/>
              </a:buBlip>
              <a:defRPr sz="1350" b="0">
                <a:latin typeface="Calibri" panose="020F0502020204030204" pitchFamily="34" charset="0"/>
                <a:cs typeface="Arial" pitchFamily="34" charset="0"/>
              </a:defRPr>
            </a:lvl1pPr>
            <a:lvl2pPr>
              <a:spcBef>
                <a:spcPts val="0"/>
              </a:spcBef>
              <a:buClr>
                <a:srgbClr val="A71930"/>
              </a:buClr>
              <a:defRPr sz="1350" b="0">
                <a:latin typeface="Calibri" panose="020F0502020204030204" pitchFamily="34" charset="0"/>
              </a:defRPr>
            </a:lvl2pPr>
            <a:lvl3pPr>
              <a:spcBef>
                <a:spcPts val="0"/>
              </a:spcBef>
              <a:buClr>
                <a:srgbClr val="A71930"/>
              </a:buClr>
              <a:defRPr sz="1350" b="0">
                <a:latin typeface="Calibri" panose="020F0502020204030204" pitchFamily="34" charset="0"/>
              </a:defRPr>
            </a:lvl3pPr>
            <a:lvl4pPr>
              <a:spcBef>
                <a:spcPts val="0"/>
              </a:spcBef>
              <a:buClr>
                <a:srgbClr val="A71930"/>
              </a:buClr>
              <a:defRPr sz="1350" b="0">
                <a:latin typeface="Calibri" panose="020F0502020204030204" pitchFamily="34" charset="0"/>
              </a:defRPr>
            </a:lvl4pPr>
            <a:lvl5pPr>
              <a:spcBef>
                <a:spcPts val="0"/>
              </a:spcBef>
              <a:buClr>
                <a:srgbClr val="A71930"/>
              </a:buClr>
              <a:defRPr sz="1350" b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Rectangle 4"/>
          <p:cNvSpPr>
            <a:spLocks noGrp="1" noChangeArrowheads="1"/>
          </p:cNvSpPr>
          <p:nvPr>
            <p:ph type="title"/>
          </p:nvPr>
        </p:nvSpPr>
        <p:spPr>
          <a:xfrm>
            <a:off x="1" y="1"/>
            <a:ext cx="7416800" cy="716056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l">
              <a:lnSpc>
                <a:spcPts val="1875"/>
              </a:lnSpc>
              <a:defRPr sz="2100" b="1" baseline="0">
                <a:solidFill>
                  <a:schemeClr val="tx2"/>
                </a:solidFill>
                <a:latin typeface="Calibri" panose="020F0502020204030204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 Placeholder 4"/>
          <p:cNvSpPr txBox="1">
            <a:spLocks/>
          </p:cNvSpPr>
          <p:nvPr userDrawn="1"/>
        </p:nvSpPr>
        <p:spPr bwMode="auto">
          <a:xfrm>
            <a:off x="8842315" y="4947294"/>
            <a:ext cx="301686" cy="207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r">
              <a:defRPr/>
            </a:pPr>
            <a:fld id="{6A1AA2C5-B4DB-426C-B3E5-890CC5D98970}" type="slidenum">
              <a:rPr lang="en-US" sz="750" b="0">
                <a:solidFill>
                  <a:schemeClr val="tx1"/>
                </a:solidFill>
                <a:cs typeface="Arial" charset="0"/>
              </a:rPr>
              <a:pPr algn="r">
                <a:defRPr/>
              </a:pPr>
              <a:t>‹#›</a:t>
            </a:fld>
            <a:endParaRPr lang="en-US" sz="750" b="0">
              <a:solidFill>
                <a:schemeClr val="tx1"/>
              </a:solidFill>
              <a:cs typeface="Arial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AB8FFA88-8326-4BB8-86B4-84824C6C0F05}"/>
              </a:ext>
            </a:extLst>
          </p:cNvPr>
          <p:cNvGrpSpPr/>
          <p:nvPr userDrawn="1"/>
        </p:nvGrpSpPr>
        <p:grpSpPr>
          <a:xfrm>
            <a:off x="84406" y="4414545"/>
            <a:ext cx="9059594" cy="495886"/>
            <a:chOff x="1" y="4927210"/>
            <a:chExt cx="12079458" cy="661181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A383969-ADA7-4008-881E-4AF4A6169B59}"/>
                </a:ext>
              </a:extLst>
            </p:cNvPr>
            <p:cNvSpPr/>
            <p:nvPr/>
          </p:nvSpPr>
          <p:spPr>
            <a:xfrm>
              <a:off x="1" y="5257801"/>
              <a:ext cx="11050012" cy="58503"/>
            </a:xfrm>
            <a:prstGeom prst="rect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E" sz="135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4310950F-3F0A-4E8C-9110-51B12BAEC3FE}"/>
                </a:ext>
              </a:extLst>
            </p:cNvPr>
            <p:cNvSpPr/>
            <p:nvPr/>
          </p:nvSpPr>
          <p:spPr>
            <a:xfrm>
              <a:off x="1" y="5316304"/>
              <a:ext cx="11050012" cy="4571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E" sz="1350"/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36CF47E5-DA9B-400D-B712-8E5CFB08717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050013" y="4927210"/>
              <a:ext cx="1029446" cy="661181"/>
            </a:xfrm>
            <a:prstGeom prst="rect">
              <a:avLst/>
            </a:prstGeom>
          </p:spPr>
        </p:pic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D2131BA8-9E50-4030-99C8-26371C0EB85C}"/>
              </a:ext>
            </a:extLst>
          </p:cNvPr>
          <p:cNvPicPr/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5899" y="0"/>
            <a:ext cx="1668101" cy="699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229021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One Bullet Column - Lines 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66345" y="1143000"/>
            <a:ext cx="8211311" cy="3310128"/>
          </a:xfrm>
        </p:spPr>
        <p:txBody>
          <a:bodyPr/>
          <a:lstStyle>
            <a:lvl1pPr marL="174621" indent="-17462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 sz="1400" b="0">
                <a:solidFill>
                  <a:schemeClr val="tx1"/>
                </a:solidFill>
              </a:defRPr>
            </a:lvl1pPr>
            <a:lvl2pPr marL="341305" indent="-17462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ucida Grande"/>
              <a:buChar char="-"/>
              <a:defRPr sz="1400" b="0">
                <a:solidFill>
                  <a:schemeClr val="tx1"/>
                </a:solidFill>
              </a:defRPr>
            </a:lvl2pPr>
            <a:lvl3pPr marL="509576" indent="-17462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ucida Grande"/>
              <a:buChar char="-"/>
              <a:tabLst>
                <a:tab pos="630222" algn="l"/>
                <a:tab pos="687371" algn="l"/>
              </a:tabLst>
              <a:defRPr sz="1400" b="0">
                <a:solidFill>
                  <a:schemeClr val="tx1"/>
                </a:solidFill>
              </a:defRPr>
            </a:lvl3pPr>
            <a:lvl4pPr marL="744520" indent="-184145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574661" algn="l"/>
                <a:tab pos="854054" algn="l"/>
              </a:tabLst>
              <a:defRPr sz="1400" b="0">
                <a:solidFill>
                  <a:schemeClr val="tx1"/>
                </a:solidFill>
              </a:defRPr>
            </a:lvl4pPr>
            <a:lvl5pPr marL="912791" indent="-184145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511163" algn="l"/>
              </a:tabLst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3" name="LogoDark"/>
          <p:cNvGrpSpPr>
            <a:grpSpLocks noChangeAspect="1"/>
          </p:cNvGrpSpPr>
          <p:nvPr/>
        </p:nvGrpSpPr>
        <p:grpSpPr bwMode="auto">
          <a:xfrm>
            <a:off x="7788131" y="4662926"/>
            <a:ext cx="1097280" cy="313476"/>
            <a:chOff x="444" y="928"/>
            <a:chExt cx="4869" cy="1391"/>
          </a:xfrm>
          <a:solidFill>
            <a:schemeClr val="tx1"/>
          </a:solidFill>
        </p:grpSpPr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5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7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9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81577C7-C20B-4E75-8C29-94D46379FC8C}" type="slidenum">
              <a:rPr lang="en-IE" smtClean="0"/>
              <a:t>‹#›</a:t>
            </a:fld>
            <a:endParaRPr lang="en-IE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842890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ext &amp; Objec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008" y="1143000"/>
            <a:ext cx="2845113" cy="33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3708400" y="1143000"/>
            <a:ext cx="4967288" cy="33083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2" name="LogoDark"/>
          <p:cNvGrpSpPr>
            <a:grpSpLocks noChangeAspect="1"/>
          </p:cNvGrpSpPr>
          <p:nvPr/>
        </p:nvGrpSpPr>
        <p:grpSpPr bwMode="auto">
          <a:xfrm>
            <a:off x="7788131" y="4662926"/>
            <a:ext cx="1097280" cy="313476"/>
            <a:chOff x="444" y="928"/>
            <a:chExt cx="4869" cy="1391"/>
          </a:xfrm>
          <a:solidFill>
            <a:schemeClr val="tx1"/>
          </a:solidFill>
        </p:grpSpPr>
        <p:sp>
          <p:nvSpPr>
            <p:cNvPr id="13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6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8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1577C7-C20B-4E75-8C29-94D46379FC8C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2655700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ull Wid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1" y="1227837"/>
            <a:ext cx="9142413" cy="39156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1227837"/>
            <a:ext cx="9143999" cy="3915664"/>
          </a:xfrm>
        </p:spPr>
        <p:txBody>
          <a:bodyPr anchor="ctr"/>
          <a:lstStyle>
            <a:lvl1pPr marL="0" marR="0" indent="-133199" algn="ctr" defTabSz="91438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GB" dirty="0"/>
              <a:t>Drag &amp; drop image here or delete to place other content</a:t>
            </a:r>
          </a:p>
        </p:txBody>
      </p:sp>
      <p:sp>
        <p:nvSpPr>
          <p:cNvPr id="6" name="Text Placeholder 14"/>
          <p:cNvSpPr>
            <a:spLocks noGrp="1"/>
          </p:cNvSpPr>
          <p:nvPr>
            <p:ph type="body" sz="quarter" idx="24" hasCustomPrompt="1"/>
          </p:nvPr>
        </p:nvSpPr>
        <p:spPr>
          <a:xfrm>
            <a:off x="4672118" y="4570414"/>
            <a:ext cx="4110586" cy="215225"/>
          </a:xfrm>
        </p:spPr>
        <p:txBody>
          <a:bodyPr anchor="b"/>
          <a:lstStyle>
            <a:lvl1pPr algn="r">
              <a:spcBef>
                <a:spcPts val="0"/>
              </a:spcBef>
              <a:defRPr sz="700" b="0"/>
            </a:lvl1pPr>
          </a:lstStyle>
          <a:p>
            <a:pPr lvl="0"/>
            <a:r>
              <a:rPr lang="en-US" dirty="0"/>
              <a:t>Source: enter text here</a:t>
            </a:r>
          </a:p>
        </p:txBody>
      </p:sp>
    </p:spTree>
    <p:extLst>
      <p:ext uri="{BB962C8B-B14F-4D97-AF65-F5344CB8AC3E}">
        <p14:creationId xmlns:p14="http://schemas.microsoft.com/office/powerpoint/2010/main" val="211750553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Full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6877050" cy="5143500"/>
          </a:xfrm>
          <a:solidFill>
            <a:srgbClr val="0A2657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506" dirty="0">
                <a:solidFill>
                  <a:schemeClr val="lt1"/>
                </a:solidFill>
              </a:defRPr>
            </a:lvl1pPr>
          </a:lstStyle>
          <a:p>
            <a:pPr lvl="0" algn="ctr" defTabSz="685783"/>
            <a:r>
              <a:rPr lang="en-US" dirty="0"/>
              <a:t>   </a:t>
            </a:r>
          </a:p>
        </p:txBody>
      </p:sp>
      <p:sp>
        <p:nvSpPr>
          <p:cNvPr id="9" name="Overlay"/>
          <p:cNvSpPr/>
          <p:nvPr/>
        </p:nvSpPr>
        <p:spPr>
          <a:xfrm>
            <a:off x="1" y="0"/>
            <a:ext cx="6885542" cy="5155032"/>
          </a:xfrm>
          <a:prstGeom prst="rect">
            <a:avLst/>
          </a:prstGeom>
          <a:solidFill>
            <a:srgbClr val="0A2657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06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43500"/>
          </a:xfrm>
        </p:spPr>
        <p:txBody>
          <a:bodyPr lIns="64008" tIns="64008"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b="0" baseline="0"/>
            </a:lvl1pPr>
          </a:lstStyle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or click Change Picture on Home tab to add</a:t>
            </a:r>
            <a:r>
              <a:rPr lang="en-GB"/>
              <a:t> and Send to Back</a:t>
            </a:r>
            <a:r>
              <a:rPr lang="en-US"/>
              <a:t>. To switch</a:t>
            </a:r>
            <a:br>
              <a:rPr lang="en-US"/>
            </a:br>
            <a:r>
              <a:rPr lang="en-US"/>
              <a:t>color on overlay on left,</a:t>
            </a:r>
            <a:r>
              <a:rPr lang="en-US" baseline="0"/>
              <a:t> select it and use the </a:t>
            </a:r>
            <a:r>
              <a:rPr lang="en-US" b="1" baseline="0"/>
              <a:t>Shape Fill </a:t>
            </a:r>
            <a:r>
              <a:rPr lang="en-US" baseline="0"/>
              <a:t>button on Home tab. </a:t>
            </a:r>
            <a:r>
              <a:rPr lang="en-US"/>
              <a:t>To add logo or switch </a:t>
            </a:r>
            <a:br>
              <a:rPr lang="en-US"/>
            </a:br>
            <a:r>
              <a:rPr lang="en-US"/>
              <a:t>logo color,</a:t>
            </a:r>
            <a:r>
              <a:rPr lang="en-US" baseline="0"/>
              <a:t> use the </a:t>
            </a:r>
            <a:r>
              <a:rPr lang="en-US" b="1" baseline="0"/>
              <a:t>Add Logo </a:t>
            </a:r>
            <a:r>
              <a:rPr lang="en-US" baseline="0"/>
              <a:t>button on Home tab.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8313" y="4582161"/>
            <a:ext cx="6400800" cy="355600"/>
          </a:xfrm>
        </p:spPr>
        <p:txBody>
          <a:bodyPr lIns="0" tIns="0" rIns="0" bIns="0" anchor="b" anchorCtr="0"/>
          <a:lstStyle>
            <a:lvl1pPr>
              <a:defRPr lang="en-US" sz="1600" b="0" i="0" cap="all" baseline="0" dirty="0"/>
            </a:lvl1pPr>
          </a:lstStyle>
          <a:p>
            <a:pPr lvl="0" defTabSz="685783"/>
            <a:r>
              <a:rPr kumimoji="0" lang="en-US" sz="1600" b="0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PARTMENT | LOCATION | DATE</a:t>
            </a:r>
            <a:endParaRPr kumimoji="0" lang="en-GB" sz="1600" b="0" i="0" u="none" strike="noStrike" kern="1200" cap="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68321" y="1420688"/>
            <a:ext cx="8207375" cy="2086300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5400" b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ocument title</a:t>
            </a:r>
          </a:p>
        </p:txBody>
      </p:sp>
    </p:spTree>
    <p:extLst>
      <p:ext uri="{BB962C8B-B14F-4D97-AF65-F5344CB8AC3E}">
        <p14:creationId xmlns:p14="http://schemas.microsoft.com/office/powerpoint/2010/main" val="36841491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ines (blu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pSp>
        <p:nvGrpSpPr>
          <p:cNvPr id="12" name="LogoLight"/>
          <p:cNvGrpSpPr>
            <a:grpSpLocks noChangeAspect="1"/>
          </p:cNvGrpSpPr>
          <p:nvPr/>
        </p:nvGrpSpPr>
        <p:grpSpPr bwMode="auto">
          <a:xfrm>
            <a:off x="7788131" y="4662926"/>
            <a:ext cx="1097280" cy="313476"/>
            <a:chOff x="444" y="928"/>
            <a:chExt cx="4869" cy="1391"/>
          </a:xfrm>
          <a:solidFill>
            <a:schemeClr val="tx1"/>
          </a:solidFill>
        </p:grpSpPr>
        <p:sp>
          <p:nvSpPr>
            <p:cNvPr id="13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6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8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19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8313" y="4582161"/>
            <a:ext cx="6400800" cy="355600"/>
          </a:xfrm>
        </p:spPr>
        <p:txBody>
          <a:bodyPr lIns="0" tIns="0" rIns="0" bIns="0" anchor="b" anchorCtr="0"/>
          <a:lstStyle>
            <a:lvl1pPr>
              <a:defRPr lang="en-US" sz="1600" b="0" i="0" cap="all" baseline="0" dirty="0"/>
            </a:lvl1pPr>
          </a:lstStyle>
          <a:p>
            <a:pPr lvl="0" defTabSz="685783"/>
            <a:r>
              <a:rPr kumimoji="0" lang="en-US" sz="1600" b="0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PARTMENT | LOCATION | DATE</a:t>
            </a:r>
            <a:endParaRPr kumimoji="0" lang="en-GB" sz="1600" b="0" i="0" u="none" strike="noStrike" kern="1200" cap="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68321" y="1420688"/>
            <a:ext cx="8207375" cy="2086300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5400" b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ocument title</a:t>
            </a:r>
          </a:p>
        </p:txBody>
      </p:sp>
    </p:spTree>
    <p:extLst>
      <p:ext uri="{BB962C8B-B14F-4D97-AF65-F5344CB8AC3E}">
        <p14:creationId xmlns:p14="http://schemas.microsoft.com/office/powerpoint/2010/main" val="9329549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Dots (blu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pSp>
        <p:nvGrpSpPr>
          <p:cNvPr id="12" name="LogoLight"/>
          <p:cNvGrpSpPr>
            <a:grpSpLocks noChangeAspect="1"/>
          </p:cNvGrpSpPr>
          <p:nvPr/>
        </p:nvGrpSpPr>
        <p:grpSpPr bwMode="auto">
          <a:xfrm>
            <a:off x="7788131" y="4662926"/>
            <a:ext cx="1097280" cy="313476"/>
            <a:chOff x="444" y="928"/>
            <a:chExt cx="4869" cy="1391"/>
          </a:xfrm>
          <a:solidFill>
            <a:schemeClr val="tx1"/>
          </a:solidFill>
        </p:grpSpPr>
        <p:sp>
          <p:nvSpPr>
            <p:cNvPr id="13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6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8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20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8313" y="4582161"/>
            <a:ext cx="6400800" cy="355600"/>
          </a:xfrm>
        </p:spPr>
        <p:txBody>
          <a:bodyPr lIns="0" tIns="0" rIns="0" bIns="0" anchor="b" anchorCtr="0"/>
          <a:lstStyle>
            <a:lvl1pPr>
              <a:defRPr lang="en-US" sz="1600" b="0" i="0" cap="all" baseline="0" dirty="0">
                <a:solidFill>
                  <a:schemeClr val="tx1"/>
                </a:solidFill>
              </a:defRPr>
            </a:lvl1pPr>
          </a:lstStyle>
          <a:p>
            <a:pPr lvl="0" defTabSz="685783"/>
            <a:r>
              <a:rPr kumimoji="0" lang="en-US" sz="1600" b="0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PARTMENT | LOCATION | DATE</a:t>
            </a:r>
            <a:endParaRPr kumimoji="0" lang="en-GB" sz="1600" b="0" i="0" u="none" strike="noStrike" kern="1200" cap="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68321" y="1420688"/>
            <a:ext cx="8207375" cy="2086300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5400" b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ocument title</a:t>
            </a:r>
          </a:p>
        </p:txBody>
      </p:sp>
    </p:spTree>
    <p:extLst>
      <p:ext uri="{BB962C8B-B14F-4D97-AF65-F5344CB8AC3E}">
        <p14:creationId xmlns:p14="http://schemas.microsoft.com/office/powerpoint/2010/main" val="19629620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ines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pSp>
        <p:nvGrpSpPr>
          <p:cNvPr id="16" name="LogoDark"/>
          <p:cNvGrpSpPr>
            <a:grpSpLocks noChangeAspect="1"/>
          </p:cNvGrpSpPr>
          <p:nvPr/>
        </p:nvGrpSpPr>
        <p:grpSpPr bwMode="auto">
          <a:xfrm>
            <a:off x="7788131" y="4662926"/>
            <a:ext cx="1097280" cy="313476"/>
            <a:chOff x="444" y="928"/>
            <a:chExt cx="4869" cy="1391"/>
          </a:xfrm>
          <a:solidFill>
            <a:schemeClr val="tx1"/>
          </a:solidFill>
        </p:grpSpPr>
        <p:sp>
          <p:nvSpPr>
            <p:cNvPr id="17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8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9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0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1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2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68313" y="4581144"/>
            <a:ext cx="6400800" cy="356616"/>
          </a:xfrm>
        </p:spPr>
        <p:txBody>
          <a:bodyPr anchor="b"/>
          <a:lstStyle>
            <a:lvl1pPr>
              <a:defRPr sz="1600"/>
            </a:lvl1pPr>
          </a:lstStyle>
          <a:p>
            <a:pPr lvl="0"/>
            <a:r>
              <a:rPr lang="en-US" dirty="0"/>
              <a:t>DEPARTMENT | LOCATION | DAT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68321" y="1420688"/>
            <a:ext cx="8207375" cy="2086300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5400" b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ocument title</a:t>
            </a:r>
          </a:p>
        </p:txBody>
      </p:sp>
    </p:spTree>
    <p:extLst>
      <p:ext uri="{BB962C8B-B14F-4D97-AF65-F5344CB8AC3E}">
        <p14:creationId xmlns:p14="http://schemas.microsoft.com/office/powerpoint/2010/main" val="13265083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Dots (whit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8092" y="-24276"/>
            <a:ext cx="9144000" cy="5143500"/>
          </a:xfrm>
          <a:prstGeom prst="rect">
            <a:avLst/>
          </a:prstGeom>
        </p:spPr>
      </p:pic>
      <p:grpSp>
        <p:nvGrpSpPr>
          <p:cNvPr id="15" name="LogoDark"/>
          <p:cNvGrpSpPr>
            <a:grpSpLocks noChangeAspect="1"/>
          </p:cNvGrpSpPr>
          <p:nvPr/>
        </p:nvGrpSpPr>
        <p:grpSpPr bwMode="auto">
          <a:xfrm>
            <a:off x="7788131" y="4662926"/>
            <a:ext cx="1097280" cy="313476"/>
            <a:chOff x="444" y="928"/>
            <a:chExt cx="4869" cy="1391"/>
          </a:xfrm>
          <a:solidFill>
            <a:schemeClr val="tx1"/>
          </a:solidFill>
        </p:grpSpPr>
        <p:sp>
          <p:nvSpPr>
            <p:cNvPr id="16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7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8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9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0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1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2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68313" y="4581144"/>
            <a:ext cx="6400800" cy="356616"/>
          </a:xfrm>
        </p:spPr>
        <p:txBody>
          <a:bodyPr anchor="b"/>
          <a:lstStyle>
            <a:lvl1pPr>
              <a:defRPr sz="1600"/>
            </a:lvl1pPr>
          </a:lstStyle>
          <a:p>
            <a:pPr lvl="0"/>
            <a:r>
              <a:rPr lang="en-US" dirty="0"/>
              <a:t>DEPARTMENT | LOCATION | DATE</a:t>
            </a: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68321" y="1420688"/>
            <a:ext cx="8207375" cy="2086300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5400" b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ocument title</a:t>
            </a:r>
          </a:p>
        </p:txBody>
      </p:sp>
    </p:spTree>
    <p:extLst>
      <p:ext uri="{BB962C8B-B14F-4D97-AF65-F5344CB8AC3E}">
        <p14:creationId xmlns:p14="http://schemas.microsoft.com/office/powerpoint/2010/main" val="12147685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Diagonal Bubbl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pSp>
        <p:nvGrpSpPr>
          <p:cNvPr id="13" name="LogoLight"/>
          <p:cNvGrpSpPr>
            <a:grpSpLocks noChangeAspect="1"/>
          </p:cNvGrpSpPr>
          <p:nvPr/>
        </p:nvGrpSpPr>
        <p:grpSpPr bwMode="auto">
          <a:xfrm>
            <a:off x="7788131" y="4662926"/>
            <a:ext cx="1097280" cy="313476"/>
            <a:chOff x="444" y="928"/>
            <a:chExt cx="4869" cy="1391"/>
          </a:xfrm>
          <a:solidFill>
            <a:schemeClr val="tx1"/>
          </a:solidFill>
        </p:grpSpPr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5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7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9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12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8313" y="4582161"/>
            <a:ext cx="6400800" cy="355600"/>
          </a:xfrm>
        </p:spPr>
        <p:txBody>
          <a:bodyPr lIns="0" tIns="0" rIns="0" bIns="0" anchor="b" anchorCtr="0"/>
          <a:lstStyle>
            <a:lvl1pPr>
              <a:defRPr lang="en-US" sz="1600" b="0" i="0" cap="all" baseline="0" dirty="0"/>
            </a:lvl1pPr>
          </a:lstStyle>
          <a:p>
            <a:pPr lvl="0" defTabSz="685783"/>
            <a:r>
              <a:rPr kumimoji="0" lang="en-US" sz="1600" b="0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PARTMENT | LOCATION | DATE</a:t>
            </a:r>
            <a:endParaRPr kumimoji="0" lang="en-GB" sz="1600" b="0" i="0" u="none" strike="noStrike" kern="1200" cap="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68321" y="1420688"/>
            <a:ext cx="8207375" cy="2086300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5400" b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ocument title</a:t>
            </a:r>
          </a:p>
        </p:txBody>
      </p:sp>
    </p:spTree>
    <p:extLst>
      <p:ext uri="{BB962C8B-B14F-4D97-AF65-F5344CB8AC3E}">
        <p14:creationId xmlns:p14="http://schemas.microsoft.com/office/powerpoint/2010/main" val="18030774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9533" y="519891"/>
            <a:ext cx="1959806" cy="355998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59533" y="4623978"/>
            <a:ext cx="1960468" cy="167386"/>
          </a:xfrm>
        </p:spPr>
        <p:txBody>
          <a:bodyPr anchor="b"/>
          <a:lstStyle>
            <a:lvl1pPr>
              <a:spcBef>
                <a:spcPts val="0"/>
              </a:spcBef>
              <a:defRPr sz="700" b="0"/>
            </a:lvl1pPr>
          </a:lstStyle>
          <a:p>
            <a:pPr lvl="0"/>
            <a:r>
              <a:rPr lang="en-US" dirty="0"/>
              <a:t>Source: enter text he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497138" y="1223962"/>
            <a:ext cx="6288087" cy="356740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34033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Diagonal Bubbles (gold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pSp>
        <p:nvGrpSpPr>
          <p:cNvPr id="14" name="LogoDark"/>
          <p:cNvGrpSpPr>
            <a:grpSpLocks noChangeAspect="1"/>
          </p:cNvGrpSpPr>
          <p:nvPr/>
        </p:nvGrpSpPr>
        <p:grpSpPr bwMode="auto">
          <a:xfrm>
            <a:off x="7788131" y="4662926"/>
            <a:ext cx="1097280" cy="313476"/>
            <a:chOff x="444" y="928"/>
            <a:chExt cx="4869" cy="1391"/>
          </a:xfrm>
          <a:solidFill>
            <a:schemeClr val="tx1"/>
          </a:solidFill>
        </p:grpSpPr>
        <p:sp>
          <p:nvSpPr>
            <p:cNvPr id="15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6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7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8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9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0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21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68313" y="4581144"/>
            <a:ext cx="6400800" cy="356616"/>
          </a:xfrm>
        </p:spPr>
        <p:txBody>
          <a:bodyPr anchor="b"/>
          <a:lstStyle>
            <a:lvl1pPr>
              <a:defRPr sz="1600"/>
            </a:lvl1pPr>
          </a:lstStyle>
          <a:p>
            <a:pPr lvl="0"/>
            <a:r>
              <a:rPr lang="en-US" dirty="0"/>
              <a:t>DEPARTMENT | LOCATION | DAT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68321" y="1420688"/>
            <a:ext cx="8207375" cy="2086300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5400" b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ocument title</a:t>
            </a:r>
          </a:p>
        </p:txBody>
      </p:sp>
    </p:spTree>
    <p:extLst>
      <p:ext uri="{BB962C8B-B14F-4D97-AF65-F5344CB8AC3E}">
        <p14:creationId xmlns:p14="http://schemas.microsoft.com/office/powerpoint/2010/main" val="38836849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Do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13" name="LogoDark"/>
          <p:cNvGrpSpPr>
            <a:grpSpLocks noChangeAspect="1"/>
          </p:cNvGrpSpPr>
          <p:nvPr/>
        </p:nvGrpSpPr>
        <p:grpSpPr bwMode="auto">
          <a:xfrm>
            <a:off x="7788131" y="4662926"/>
            <a:ext cx="1097280" cy="313476"/>
            <a:chOff x="444" y="928"/>
            <a:chExt cx="4869" cy="1391"/>
          </a:xfrm>
          <a:solidFill>
            <a:schemeClr val="tx1"/>
          </a:solidFill>
        </p:grpSpPr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5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7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9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21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68313" y="4581144"/>
            <a:ext cx="6400800" cy="356616"/>
          </a:xfrm>
        </p:spPr>
        <p:txBody>
          <a:bodyPr anchor="b"/>
          <a:lstStyle>
            <a:lvl1pPr>
              <a:defRPr sz="1600"/>
            </a:lvl1pPr>
          </a:lstStyle>
          <a:p>
            <a:pPr lvl="0"/>
            <a:r>
              <a:rPr lang="en-US" dirty="0"/>
              <a:t>DEPARTMENT | LOCATION | DAT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68321" y="1420688"/>
            <a:ext cx="8207375" cy="2086300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5400" b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ocument title</a:t>
            </a:r>
          </a:p>
        </p:txBody>
      </p:sp>
    </p:spTree>
    <p:extLst>
      <p:ext uri="{BB962C8B-B14F-4D97-AF65-F5344CB8AC3E}">
        <p14:creationId xmlns:p14="http://schemas.microsoft.com/office/powerpoint/2010/main" val="12963854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LogoLight"/>
          <p:cNvGrpSpPr>
            <a:grpSpLocks noChangeAspect="1"/>
          </p:cNvGrpSpPr>
          <p:nvPr/>
        </p:nvGrpSpPr>
        <p:grpSpPr bwMode="auto">
          <a:xfrm>
            <a:off x="7788131" y="4662926"/>
            <a:ext cx="1097280" cy="313476"/>
            <a:chOff x="444" y="928"/>
            <a:chExt cx="4869" cy="1391"/>
          </a:xfrm>
          <a:solidFill>
            <a:schemeClr val="tx1"/>
          </a:solidFill>
        </p:grpSpPr>
        <p:sp>
          <p:nvSpPr>
            <p:cNvPr id="8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9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0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4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6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1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8313" y="4582161"/>
            <a:ext cx="6400800" cy="355600"/>
          </a:xfrm>
        </p:spPr>
        <p:txBody>
          <a:bodyPr lIns="0" tIns="0" rIns="0" bIns="0" anchor="b" anchorCtr="0"/>
          <a:lstStyle>
            <a:lvl1pPr>
              <a:defRPr lang="en-US" sz="1600" b="0" i="0" cap="all" baseline="0" dirty="0"/>
            </a:lvl1pPr>
          </a:lstStyle>
          <a:p>
            <a:pPr lvl="0" defTabSz="685783"/>
            <a:r>
              <a:rPr kumimoji="0" lang="en-US" sz="1600" b="0" i="0" u="none" strike="noStrike" kern="120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PARTMENT | LOCATION | DATE</a:t>
            </a:r>
            <a:endParaRPr kumimoji="0" lang="en-GB" sz="1600" b="0" i="0" u="none" strike="noStrike" kern="1200" cap="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468321" y="1420688"/>
            <a:ext cx="8207375" cy="2086300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5400" b="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ocument title</a:t>
            </a:r>
          </a:p>
        </p:txBody>
      </p:sp>
    </p:spTree>
    <p:extLst>
      <p:ext uri="{BB962C8B-B14F-4D97-AF65-F5344CB8AC3E}">
        <p14:creationId xmlns:p14="http://schemas.microsoft.com/office/powerpoint/2010/main" val="23712926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/Story Full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erlay"/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"/>
            <a:ext cx="4568825" cy="5154613"/>
          </a:xfrm>
          <a:solidFill>
            <a:srgbClr val="0A2657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506" dirty="0">
                <a:solidFill>
                  <a:schemeClr val="lt1"/>
                </a:solidFill>
              </a:defRPr>
            </a:lvl1pPr>
          </a:lstStyle>
          <a:p>
            <a:pPr lvl="0" algn="ctr" defTabSz="685783"/>
            <a:r>
              <a:rPr lang="en-US" dirty="0"/>
              <a:t>   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43500"/>
          </a:xfrm>
        </p:spPr>
        <p:txBody>
          <a:bodyPr lIns="64008" tIns="64008"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or click Change Picture on Home tab</a:t>
            </a:r>
            <a:br>
              <a:rPr lang="en-US"/>
            </a:br>
            <a:r>
              <a:rPr lang="en-US"/>
              <a:t>to add</a:t>
            </a:r>
            <a:r>
              <a:rPr lang="en-GB"/>
              <a:t> and Send to Back</a:t>
            </a:r>
            <a:r>
              <a:rPr lang="en-US"/>
              <a:t>. To switch color on overlay on left,</a:t>
            </a:r>
            <a:r>
              <a:rPr lang="en-US" baseline="0"/>
              <a:t> </a:t>
            </a:r>
            <a:br>
              <a:rPr lang="en-US" baseline="0"/>
            </a:br>
            <a:r>
              <a:rPr lang="en-US" baseline="0"/>
              <a:t>select it and use the </a:t>
            </a:r>
            <a:r>
              <a:rPr lang="en-US" b="1" baseline="0"/>
              <a:t>Shape Fill </a:t>
            </a:r>
            <a:r>
              <a:rPr lang="en-US" baseline="0"/>
              <a:t>button on Home tab. </a:t>
            </a:r>
            <a:r>
              <a:rPr lang="en-US"/>
              <a:t>To add logo </a:t>
            </a:r>
            <a:br>
              <a:rPr lang="en-US"/>
            </a:br>
            <a:r>
              <a:rPr lang="en-US"/>
              <a:t>or switch logo color,</a:t>
            </a:r>
            <a:r>
              <a:rPr lang="en-US" baseline="0"/>
              <a:t> use the </a:t>
            </a:r>
            <a:r>
              <a:rPr lang="en-US" b="1" baseline="0"/>
              <a:t>Add Logo </a:t>
            </a:r>
            <a:r>
              <a:rPr lang="en-US" baseline="0"/>
              <a:t>button on Home tab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1577C7-C20B-4E75-8C29-94D46379FC8C}" type="slidenum">
              <a:rPr lang="en-IE" smtClean="0"/>
              <a:t>‹#›</a:t>
            </a:fld>
            <a:endParaRPr lang="en-IE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68321" y="1420688"/>
            <a:ext cx="8207375" cy="2086300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2400" b="1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DIVIDER/STORY TITLE</a:t>
            </a:r>
          </a:p>
        </p:txBody>
      </p:sp>
    </p:spTree>
    <p:extLst>
      <p:ext uri="{BB962C8B-B14F-4D97-AF65-F5344CB8AC3E}">
        <p14:creationId xmlns:p14="http://schemas.microsoft.com/office/powerpoint/2010/main" val="37690444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/Story - Half Picture (white text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erlay"/>
          <p:cNvSpPr>
            <a:spLocks noGrp="1"/>
          </p:cNvSpPr>
          <p:nvPr>
            <p:ph type="body" sz="quarter" idx="14" hasCustomPrompt="1"/>
          </p:nvPr>
        </p:nvSpPr>
        <p:spPr>
          <a:xfrm>
            <a:off x="-1" y="1"/>
            <a:ext cx="4581144" cy="5154613"/>
          </a:xfr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506" dirty="0">
                <a:solidFill>
                  <a:schemeClr val="lt1"/>
                </a:solidFill>
              </a:defRPr>
            </a:lvl1pPr>
          </a:lstStyle>
          <a:p>
            <a:pPr lvl="0" algn="ctr" defTabSz="685783"/>
            <a:r>
              <a:rPr lang="en-US" dirty="0"/>
              <a:t> 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1577C7-C20B-4E75-8C29-94D46379FC8C}" type="slidenum">
              <a:rPr lang="en-IE" smtClean="0"/>
              <a:t>‹#›</a:t>
            </a:fld>
            <a:endParaRPr lang="en-IE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4568826" y="0"/>
            <a:ext cx="4575175" cy="5148072"/>
          </a:xfrm>
        </p:spPr>
        <p:txBody>
          <a:bodyPr lIns="64008" tIns="64008"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or click icon to add</a:t>
            </a:r>
            <a:r>
              <a:rPr lang="en-GB"/>
              <a:t> and Send to Back</a:t>
            </a:r>
            <a:r>
              <a:rPr lang="en-US"/>
              <a:t>. To switch color on overlay on left,</a:t>
            </a:r>
            <a:r>
              <a:rPr lang="en-US" baseline="0"/>
              <a:t> select it and use the </a:t>
            </a:r>
            <a:r>
              <a:rPr lang="en-US" b="1" baseline="0"/>
              <a:t>Shape Fill </a:t>
            </a:r>
            <a:r>
              <a:rPr lang="en-US" baseline="0"/>
              <a:t>button on Home tab. </a:t>
            </a:r>
            <a:r>
              <a:rPr lang="en-US"/>
              <a:t>To add logo or switch logo color,</a:t>
            </a:r>
            <a:r>
              <a:rPr lang="en-US" baseline="0"/>
              <a:t> use the </a:t>
            </a:r>
            <a:r>
              <a:rPr lang="en-US" b="1" baseline="0"/>
              <a:t>Add Logo </a:t>
            </a:r>
            <a:r>
              <a:rPr lang="en-US" baseline="0"/>
              <a:t>button on Home tab.</a:t>
            </a:r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68320" y="1420688"/>
            <a:ext cx="3886200" cy="2086300"/>
          </a:xfrm>
        </p:spPr>
        <p:txBody>
          <a:bodyPr anchor="ctr"/>
          <a:lstStyle>
            <a:lvl1pPr marL="0" indent="0">
              <a:lnSpc>
                <a:spcPct val="90000"/>
              </a:lnSpc>
              <a:defRPr sz="2400" b="1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IVIDER/STORY TITLE</a:t>
            </a:r>
          </a:p>
        </p:txBody>
      </p:sp>
    </p:spTree>
    <p:extLst>
      <p:ext uri="{BB962C8B-B14F-4D97-AF65-F5344CB8AC3E}">
        <p14:creationId xmlns:p14="http://schemas.microsoft.com/office/powerpoint/2010/main" val="34580412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/Story - Half Picture (dark text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erlay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1"/>
            <a:ext cx="4581144" cy="5154613"/>
          </a:xfr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506" dirty="0">
                <a:solidFill>
                  <a:schemeClr val="lt1"/>
                </a:solidFill>
              </a:defRPr>
            </a:lvl1pPr>
          </a:lstStyle>
          <a:p>
            <a:pPr lvl="0" algn="ctr" defTabSz="685783"/>
            <a:r>
              <a:rPr lang="en-US" dirty="0"/>
              <a:t> 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781577C7-C20B-4E75-8C29-94D46379FC8C}" type="slidenum">
              <a:rPr lang="en-IE" smtClean="0"/>
              <a:t>‹#›</a:t>
            </a:fld>
            <a:endParaRPr lang="en-IE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4568826" y="0"/>
            <a:ext cx="4575175" cy="5148072"/>
          </a:xfrm>
        </p:spPr>
        <p:txBody>
          <a:bodyPr lIns="64008" tIns="64008"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or click icon to add</a:t>
            </a:r>
            <a:r>
              <a:rPr lang="en-GB"/>
              <a:t> and Send to Back</a:t>
            </a:r>
            <a:r>
              <a:rPr lang="en-US"/>
              <a:t>. To switch color on overlay on left,</a:t>
            </a:r>
            <a:r>
              <a:rPr lang="en-US" baseline="0"/>
              <a:t> select it and use the </a:t>
            </a:r>
            <a:r>
              <a:rPr lang="en-US" b="1" baseline="0"/>
              <a:t>Shape Fill </a:t>
            </a:r>
            <a:r>
              <a:rPr lang="en-US" baseline="0"/>
              <a:t>button on Home tab. </a:t>
            </a:r>
            <a:r>
              <a:rPr lang="en-US"/>
              <a:t>To add logo or switch logo color,</a:t>
            </a:r>
            <a:r>
              <a:rPr lang="en-US" baseline="0"/>
              <a:t> use the </a:t>
            </a:r>
            <a:r>
              <a:rPr lang="en-US" b="1" baseline="0"/>
              <a:t>Add Logo </a:t>
            </a:r>
            <a:r>
              <a:rPr lang="en-US" baseline="0"/>
              <a:t>button on Home tab.</a:t>
            </a:r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68320" y="1420688"/>
            <a:ext cx="3886200" cy="20863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marL="0" lvl="0" indent="0">
              <a:lnSpc>
                <a:spcPct val="90000"/>
              </a:lnSpc>
            </a:pPr>
            <a:r>
              <a:rPr lang="en-GB" dirty="0"/>
              <a:t>DIVIDER/STORY TITLE</a:t>
            </a:r>
          </a:p>
        </p:txBody>
      </p:sp>
    </p:spTree>
    <p:extLst>
      <p:ext uri="{BB962C8B-B14F-4D97-AF65-F5344CB8AC3E}">
        <p14:creationId xmlns:p14="http://schemas.microsoft.com/office/powerpoint/2010/main" val="36164264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ne colum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/>
          <p:cNvSpPr>
            <a:spLocks noGrp="1"/>
          </p:cNvSpPr>
          <p:nvPr>
            <p:ph sz="quarter" idx="13"/>
          </p:nvPr>
        </p:nvSpPr>
        <p:spPr>
          <a:xfrm>
            <a:off x="468314" y="1143000"/>
            <a:ext cx="8207375" cy="337978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2" name="LogoDark"/>
          <p:cNvGrpSpPr>
            <a:grpSpLocks noChangeAspect="1"/>
          </p:cNvGrpSpPr>
          <p:nvPr/>
        </p:nvGrpSpPr>
        <p:grpSpPr bwMode="auto">
          <a:xfrm>
            <a:off x="7788131" y="4662926"/>
            <a:ext cx="1097280" cy="313476"/>
            <a:chOff x="444" y="928"/>
            <a:chExt cx="4869" cy="1391"/>
          </a:xfrm>
          <a:solidFill>
            <a:schemeClr val="tx1"/>
          </a:solidFill>
        </p:grpSpPr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5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7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9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81577C7-C20B-4E75-8C29-94D46379FC8C}" type="slidenum">
              <a:rPr lang="en-IE" smtClean="0"/>
              <a:t>‹#›</a:t>
            </a:fld>
            <a:endParaRPr lang="en-IE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280297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ne column - Lines 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12"/>
          <p:cNvSpPr>
            <a:spLocks noGrp="1"/>
          </p:cNvSpPr>
          <p:nvPr>
            <p:ph sz="quarter" idx="13"/>
          </p:nvPr>
        </p:nvSpPr>
        <p:spPr>
          <a:xfrm>
            <a:off x="468314" y="1143000"/>
            <a:ext cx="8207375" cy="337978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2" name="LogoDark"/>
          <p:cNvGrpSpPr>
            <a:grpSpLocks noChangeAspect="1"/>
          </p:cNvGrpSpPr>
          <p:nvPr/>
        </p:nvGrpSpPr>
        <p:grpSpPr bwMode="auto">
          <a:xfrm>
            <a:off x="7788131" y="4662926"/>
            <a:ext cx="1097280" cy="313476"/>
            <a:chOff x="444" y="928"/>
            <a:chExt cx="4869" cy="1391"/>
          </a:xfrm>
          <a:solidFill>
            <a:schemeClr val="tx1"/>
          </a:solidFill>
        </p:grpSpPr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5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7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9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81577C7-C20B-4E75-8C29-94D46379FC8C}" type="slidenum">
              <a:rPr lang="en-IE" smtClean="0"/>
              <a:t>‹#›</a:t>
            </a:fld>
            <a:endParaRPr lang="en-IE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479149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ne column -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12"/>
          <p:cNvSpPr>
            <a:spLocks noGrp="1"/>
          </p:cNvSpPr>
          <p:nvPr>
            <p:ph sz="quarter" idx="13"/>
          </p:nvPr>
        </p:nvSpPr>
        <p:spPr>
          <a:xfrm>
            <a:off x="468314" y="1143000"/>
            <a:ext cx="8207375" cy="3379787"/>
          </a:xfrm>
        </p:spPr>
        <p:txBody>
          <a:bodyPr/>
          <a:lstStyle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9" name="LogoLight"/>
          <p:cNvGrpSpPr>
            <a:grpSpLocks noChangeAspect="1"/>
          </p:cNvGrpSpPr>
          <p:nvPr/>
        </p:nvGrpSpPr>
        <p:grpSpPr bwMode="auto">
          <a:xfrm>
            <a:off x="7788131" y="4662926"/>
            <a:ext cx="1097280" cy="313476"/>
            <a:chOff x="444" y="928"/>
            <a:chExt cx="4869" cy="1391"/>
          </a:xfrm>
          <a:solidFill>
            <a:schemeClr val="tx1"/>
          </a:solidFill>
        </p:grpSpPr>
        <p:sp>
          <p:nvSpPr>
            <p:cNvPr id="12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6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8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81577C7-C20B-4E75-8C29-94D46379FC8C}" type="slidenum">
              <a:rPr lang="en-IE" smtClean="0"/>
              <a:t>‹#›</a:t>
            </a:fld>
            <a:endParaRPr lang="en-IE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58975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ne column - Lines (blu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2" name="Content Placeholder 12"/>
          <p:cNvSpPr>
            <a:spLocks noGrp="1"/>
          </p:cNvSpPr>
          <p:nvPr>
            <p:ph sz="quarter" idx="13"/>
          </p:nvPr>
        </p:nvSpPr>
        <p:spPr>
          <a:xfrm>
            <a:off x="468314" y="1143000"/>
            <a:ext cx="8207375" cy="3379787"/>
          </a:xfrm>
        </p:spPr>
        <p:txBody>
          <a:bodyPr/>
          <a:lstStyle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3" name="LogoLight"/>
          <p:cNvGrpSpPr>
            <a:grpSpLocks noChangeAspect="1"/>
          </p:cNvGrpSpPr>
          <p:nvPr/>
        </p:nvGrpSpPr>
        <p:grpSpPr bwMode="auto">
          <a:xfrm>
            <a:off x="7788131" y="4662926"/>
            <a:ext cx="1097280" cy="313476"/>
            <a:chOff x="444" y="928"/>
            <a:chExt cx="4869" cy="1391"/>
          </a:xfrm>
          <a:solidFill>
            <a:schemeClr val="tx1"/>
          </a:solidFill>
        </p:grpSpPr>
        <p:sp>
          <p:nvSpPr>
            <p:cNvPr id="15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6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7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8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9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0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81577C7-C20B-4E75-8C29-94D46379FC8C}" type="slidenum">
              <a:rPr lang="en-IE" smtClean="0"/>
              <a:t>‹#›</a:t>
            </a:fld>
            <a:endParaRPr lang="en-IE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29894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59533" y="4623978"/>
            <a:ext cx="1960468" cy="167386"/>
          </a:xfrm>
        </p:spPr>
        <p:txBody>
          <a:bodyPr anchor="b"/>
          <a:lstStyle>
            <a:lvl1pPr>
              <a:spcBef>
                <a:spcPts val="0"/>
              </a:spcBef>
              <a:defRPr sz="700" b="0"/>
            </a:lvl1pPr>
          </a:lstStyle>
          <a:p>
            <a:pPr lvl="0"/>
            <a:r>
              <a:rPr lang="en-US" dirty="0"/>
              <a:t>Source: enter text here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59533" y="519891"/>
            <a:ext cx="1959806" cy="355998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497138" y="1223962"/>
            <a:ext cx="3102317" cy="3567401"/>
          </a:xfrm>
        </p:spPr>
        <p:txBody>
          <a:bodyPr numCol="1"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5794794" y="1223962"/>
            <a:ext cx="2985082" cy="3567401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0694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ne Bullet Colum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66345" y="1143000"/>
            <a:ext cx="8211311" cy="3310128"/>
          </a:xfrm>
        </p:spPr>
        <p:txBody>
          <a:bodyPr/>
          <a:lstStyle>
            <a:lvl1pPr marL="174621" indent="-17462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 sz="1400" b="0">
                <a:solidFill>
                  <a:schemeClr val="tx1"/>
                </a:solidFill>
              </a:defRPr>
            </a:lvl1pPr>
            <a:lvl2pPr marL="341305" indent="-17462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ucida Grande"/>
              <a:buChar char="-"/>
              <a:defRPr sz="1400" b="0">
                <a:solidFill>
                  <a:schemeClr val="tx1"/>
                </a:solidFill>
              </a:defRPr>
            </a:lvl2pPr>
            <a:lvl3pPr marL="509576" indent="-17462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ucida Grande"/>
              <a:buChar char="-"/>
              <a:tabLst>
                <a:tab pos="630222" algn="l"/>
                <a:tab pos="687371" algn="l"/>
              </a:tabLst>
              <a:defRPr sz="1400" b="0">
                <a:solidFill>
                  <a:schemeClr val="tx1"/>
                </a:solidFill>
              </a:defRPr>
            </a:lvl3pPr>
            <a:lvl4pPr marL="744520" indent="-184145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574661" algn="l"/>
                <a:tab pos="854054" algn="l"/>
              </a:tabLst>
              <a:defRPr sz="1400" b="0">
                <a:solidFill>
                  <a:schemeClr val="tx1"/>
                </a:solidFill>
              </a:defRPr>
            </a:lvl4pPr>
            <a:lvl5pPr marL="912791" indent="-184145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511163" algn="l"/>
              </a:tabLst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0" name="LogoDark"/>
          <p:cNvGrpSpPr>
            <a:grpSpLocks noChangeAspect="1"/>
          </p:cNvGrpSpPr>
          <p:nvPr/>
        </p:nvGrpSpPr>
        <p:grpSpPr bwMode="auto">
          <a:xfrm>
            <a:off x="7788131" y="4662926"/>
            <a:ext cx="1097280" cy="313476"/>
            <a:chOff x="444" y="928"/>
            <a:chExt cx="4869" cy="1391"/>
          </a:xfrm>
          <a:solidFill>
            <a:schemeClr val="tx1"/>
          </a:solidFill>
        </p:grpSpPr>
        <p:sp>
          <p:nvSpPr>
            <p:cNvPr id="12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3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4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5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6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7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81577C7-C20B-4E75-8C29-94D46379FC8C}" type="slidenum">
              <a:rPr lang="en-IE" smtClean="0"/>
              <a:t>‹#›</a:t>
            </a:fld>
            <a:endParaRPr lang="en-IE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6510337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ne Bullet Column - Lines 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66345" y="1143000"/>
            <a:ext cx="8211311" cy="3310128"/>
          </a:xfrm>
        </p:spPr>
        <p:txBody>
          <a:bodyPr/>
          <a:lstStyle>
            <a:lvl1pPr marL="174621" indent="-17462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 sz="1400" b="0">
                <a:solidFill>
                  <a:schemeClr val="tx1"/>
                </a:solidFill>
              </a:defRPr>
            </a:lvl1pPr>
            <a:lvl2pPr marL="341305" indent="-17462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ucida Grande"/>
              <a:buChar char="-"/>
              <a:defRPr sz="1400" b="0">
                <a:solidFill>
                  <a:schemeClr val="tx1"/>
                </a:solidFill>
              </a:defRPr>
            </a:lvl2pPr>
            <a:lvl3pPr marL="509576" indent="-17462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ucida Grande"/>
              <a:buChar char="-"/>
              <a:tabLst>
                <a:tab pos="630222" algn="l"/>
                <a:tab pos="687371" algn="l"/>
              </a:tabLst>
              <a:defRPr sz="1400" b="0">
                <a:solidFill>
                  <a:schemeClr val="tx1"/>
                </a:solidFill>
              </a:defRPr>
            </a:lvl3pPr>
            <a:lvl4pPr marL="744520" indent="-184145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574661" algn="l"/>
                <a:tab pos="854054" algn="l"/>
              </a:tabLst>
              <a:defRPr sz="1400" b="0">
                <a:solidFill>
                  <a:schemeClr val="tx1"/>
                </a:solidFill>
              </a:defRPr>
            </a:lvl4pPr>
            <a:lvl5pPr marL="912791" indent="-184145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511163" algn="l"/>
              </a:tabLst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3" name="LogoDark"/>
          <p:cNvGrpSpPr>
            <a:grpSpLocks noChangeAspect="1"/>
          </p:cNvGrpSpPr>
          <p:nvPr/>
        </p:nvGrpSpPr>
        <p:grpSpPr bwMode="auto">
          <a:xfrm>
            <a:off x="7788131" y="4662926"/>
            <a:ext cx="1097280" cy="313476"/>
            <a:chOff x="444" y="928"/>
            <a:chExt cx="4869" cy="1391"/>
          </a:xfrm>
          <a:solidFill>
            <a:schemeClr val="tx1"/>
          </a:solidFill>
        </p:grpSpPr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5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7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9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81577C7-C20B-4E75-8C29-94D46379FC8C}" type="slidenum">
              <a:rPr lang="en-IE" smtClean="0"/>
              <a:t>‹#›</a:t>
            </a:fld>
            <a:endParaRPr lang="en-IE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9463285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ne Bullet Column -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66345" y="1143000"/>
            <a:ext cx="8211311" cy="3310128"/>
          </a:xfrm>
        </p:spPr>
        <p:txBody>
          <a:bodyPr/>
          <a:lstStyle>
            <a:lvl1pPr marL="174621" indent="-17462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 sz="1400" b="0">
                <a:solidFill>
                  <a:schemeClr val="tx1"/>
                </a:solidFill>
              </a:defRPr>
            </a:lvl1pPr>
            <a:lvl2pPr marL="341305" indent="-17462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ucida Grande"/>
              <a:buChar char="-"/>
              <a:defRPr sz="1400" b="0">
                <a:solidFill>
                  <a:schemeClr val="tx1"/>
                </a:solidFill>
              </a:defRPr>
            </a:lvl2pPr>
            <a:lvl3pPr marL="509576" indent="-17462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ucida Grande"/>
              <a:buChar char="-"/>
              <a:tabLst>
                <a:tab pos="630222" algn="l"/>
                <a:tab pos="687371" algn="l"/>
              </a:tabLst>
              <a:defRPr sz="1400" b="0">
                <a:solidFill>
                  <a:schemeClr val="tx1"/>
                </a:solidFill>
              </a:defRPr>
            </a:lvl3pPr>
            <a:lvl4pPr marL="744520" indent="-184145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574661" algn="l"/>
                <a:tab pos="854054" algn="l"/>
              </a:tabLst>
              <a:defRPr sz="1400" b="0">
                <a:solidFill>
                  <a:schemeClr val="tx1"/>
                </a:solidFill>
              </a:defRPr>
            </a:lvl4pPr>
            <a:lvl5pPr marL="912791" indent="-184145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511163" algn="l"/>
              </a:tabLst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95994" y="4657938"/>
            <a:ext cx="1094722" cy="312962"/>
          </a:xfrm>
          <a:prstGeom prst="rect">
            <a:avLst/>
          </a:prstGeom>
        </p:spPr>
      </p:pic>
      <p:grpSp>
        <p:nvGrpSpPr>
          <p:cNvPr id="13" name="LogoLight"/>
          <p:cNvGrpSpPr>
            <a:grpSpLocks noChangeAspect="1"/>
          </p:cNvGrpSpPr>
          <p:nvPr/>
        </p:nvGrpSpPr>
        <p:grpSpPr bwMode="auto">
          <a:xfrm>
            <a:off x="7788131" y="4662926"/>
            <a:ext cx="1097280" cy="313476"/>
            <a:chOff x="444" y="928"/>
            <a:chExt cx="4869" cy="1391"/>
          </a:xfrm>
          <a:solidFill>
            <a:schemeClr val="tx1"/>
          </a:solidFill>
        </p:grpSpPr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5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7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9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81577C7-C20B-4E75-8C29-94D46379FC8C}" type="slidenum">
              <a:rPr lang="en-IE" smtClean="0"/>
              <a:t>‹#›</a:t>
            </a:fld>
            <a:endParaRPr lang="en-IE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32538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ne Bullet Column - Lines (blu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66345" y="1143000"/>
            <a:ext cx="8211311" cy="3310128"/>
          </a:xfrm>
        </p:spPr>
        <p:txBody>
          <a:bodyPr/>
          <a:lstStyle>
            <a:lvl1pPr marL="174621" indent="-17462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 sz="1400" b="0">
                <a:solidFill>
                  <a:schemeClr val="tx1"/>
                </a:solidFill>
              </a:defRPr>
            </a:lvl1pPr>
            <a:lvl2pPr marL="341305" indent="-17462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ucida Grande"/>
              <a:buChar char="-"/>
              <a:defRPr sz="1400" b="0">
                <a:solidFill>
                  <a:schemeClr val="tx1"/>
                </a:solidFill>
              </a:defRPr>
            </a:lvl2pPr>
            <a:lvl3pPr marL="509576" indent="-17462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ucida Grande"/>
              <a:buChar char="-"/>
              <a:tabLst>
                <a:tab pos="630222" algn="l"/>
                <a:tab pos="687371" algn="l"/>
              </a:tabLst>
              <a:defRPr sz="1400" b="0">
                <a:solidFill>
                  <a:schemeClr val="tx1"/>
                </a:solidFill>
              </a:defRPr>
            </a:lvl3pPr>
            <a:lvl4pPr marL="744520" indent="-184145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574661" algn="l"/>
                <a:tab pos="854054" algn="l"/>
              </a:tabLst>
              <a:defRPr sz="1400" b="0">
                <a:solidFill>
                  <a:schemeClr val="tx1"/>
                </a:solidFill>
              </a:defRPr>
            </a:lvl4pPr>
            <a:lvl5pPr marL="912791" indent="-184145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511163" algn="l"/>
              </a:tabLst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95994" y="4657938"/>
            <a:ext cx="1094722" cy="312962"/>
          </a:xfrm>
          <a:prstGeom prst="rect">
            <a:avLst/>
          </a:prstGeom>
        </p:spPr>
      </p:pic>
      <p:grpSp>
        <p:nvGrpSpPr>
          <p:cNvPr id="13" name="LogoLight"/>
          <p:cNvGrpSpPr>
            <a:grpSpLocks noChangeAspect="1"/>
          </p:cNvGrpSpPr>
          <p:nvPr/>
        </p:nvGrpSpPr>
        <p:grpSpPr bwMode="auto">
          <a:xfrm>
            <a:off x="7788131" y="4662926"/>
            <a:ext cx="1097280" cy="313476"/>
            <a:chOff x="444" y="928"/>
            <a:chExt cx="4869" cy="1391"/>
          </a:xfrm>
          <a:solidFill>
            <a:schemeClr val="tx1"/>
          </a:solidFill>
        </p:grpSpPr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5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7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9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81577C7-C20B-4E75-8C29-94D46379FC8C}" type="slidenum">
              <a:rPr lang="en-IE" smtClean="0"/>
              <a:t>‹#›</a:t>
            </a:fld>
            <a:endParaRPr lang="en-IE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30941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LogoDark"/>
          <p:cNvGrpSpPr>
            <a:grpSpLocks noChangeAspect="1"/>
          </p:cNvGrpSpPr>
          <p:nvPr/>
        </p:nvGrpSpPr>
        <p:grpSpPr bwMode="auto">
          <a:xfrm>
            <a:off x="7788131" y="4662926"/>
            <a:ext cx="1097280" cy="313476"/>
            <a:chOff x="444" y="928"/>
            <a:chExt cx="4869" cy="1391"/>
          </a:xfrm>
          <a:solidFill>
            <a:schemeClr val="tx1"/>
          </a:solidFill>
        </p:grpSpPr>
        <p:sp>
          <p:nvSpPr>
            <p:cNvPr id="10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5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1577C7-C20B-4E75-8C29-94D46379FC8C}" type="slidenum">
              <a:rPr lang="en-IE" smtClean="0"/>
              <a:t>‹#›</a:t>
            </a:fld>
            <a:endParaRPr lang="en-IE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27554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 -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LogoLight"/>
          <p:cNvGrpSpPr>
            <a:grpSpLocks noChangeAspect="1"/>
          </p:cNvGrpSpPr>
          <p:nvPr/>
        </p:nvGrpSpPr>
        <p:grpSpPr bwMode="auto">
          <a:xfrm>
            <a:off x="7788131" y="4662926"/>
            <a:ext cx="1097280" cy="313476"/>
            <a:chOff x="444" y="928"/>
            <a:chExt cx="4869" cy="1391"/>
          </a:xfrm>
          <a:solidFill>
            <a:schemeClr val="tx1"/>
          </a:solidFill>
        </p:grpSpPr>
        <p:sp>
          <p:nvSpPr>
            <p:cNvPr id="10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5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1577C7-C20B-4E75-8C29-94D46379FC8C}" type="slidenum">
              <a:rPr lang="en-IE" smtClean="0"/>
              <a:t>‹#›</a:t>
            </a:fld>
            <a:endParaRPr lang="en-IE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55541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lum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4572000" y="1132429"/>
            <a:ext cx="0" cy="3308461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468313" y="1142522"/>
            <a:ext cx="3922712" cy="33083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52970" y="1142522"/>
            <a:ext cx="3922712" cy="33083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4" name="LogoDark"/>
          <p:cNvGrpSpPr>
            <a:grpSpLocks noChangeAspect="1"/>
          </p:cNvGrpSpPr>
          <p:nvPr/>
        </p:nvGrpSpPr>
        <p:grpSpPr bwMode="auto">
          <a:xfrm>
            <a:off x="7788131" y="4662926"/>
            <a:ext cx="1097280" cy="313476"/>
            <a:chOff x="444" y="928"/>
            <a:chExt cx="4869" cy="1391"/>
          </a:xfrm>
          <a:solidFill>
            <a:schemeClr val="tx1"/>
          </a:solidFill>
        </p:grpSpPr>
        <p:sp>
          <p:nvSpPr>
            <p:cNvPr id="15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6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7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8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9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0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81577C7-C20B-4E75-8C29-94D46379FC8C}" type="slidenum">
              <a:rPr lang="en-IE" smtClean="0"/>
              <a:t>‹#›</a:t>
            </a:fld>
            <a:endParaRPr lang="en-IE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1340003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lumn - Lines 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4572000" y="1132429"/>
            <a:ext cx="0" cy="3308461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468313" y="1142522"/>
            <a:ext cx="3922712" cy="33083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52970" y="1142522"/>
            <a:ext cx="3922712" cy="33083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6" name="LogoDark"/>
          <p:cNvGrpSpPr>
            <a:grpSpLocks noChangeAspect="1"/>
          </p:cNvGrpSpPr>
          <p:nvPr/>
        </p:nvGrpSpPr>
        <p:grpSpPr bwMode="auto">
          <a:xfrm>
            <a:off x="7788131" y="4662926"/>
            <a:ext cx="1097280" cy="313476"/>
            <a:chOff x="444" y="928"/>
            <a:chExt cx="4869" cy="1391"/>
          </a:xfrm>
          <a:solidFill>
            <a:schemeClr val="tx1"/>
          </a:solidFill>
        </p:grpSpPr>
        <p:sp>
          <p:nvSpPr>
            <p:cNvPr id="17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8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9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0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1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2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81577C7-C20B-4E75-8C29-94D46379FC8C}" type="slidenum">
              <a:rPr lang="en-IE" smtClean="0"/>
              <a:t>‹#›</a:t>
            </a:fld>
            <a:endParaRPr lang="en-IE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3903305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lumn -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4572000" y="1132429"/>
            <a:ext cx="0" cy="330846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95994" y="4657938"/>
            <a:ext cx="1094722" cy="312962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468313" y="1142522"/>
            <a:ext cx="3922712" cy="3308350"/>
          </a:xfrm>
        </p:spPr>
        <p:txBody>
          <a:bodyPr/>
          <a:lstStyle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52970" y="1142522"/>
            <a:ext cx="3922712" cy="3308350"/>
          </a:xfrm>
        </p:spPr>
        <p:txBody>
          <a:bodyPr/>
          <a:lstStyle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6" name="LogoLight"/>
          <p:cNvGrpSpPr>
            <a:grpSpLocks noChangeAspect="1"/>
          </p:cNvGrpSpPr>
          <p:nvPr/>
        </p:nvGrpSpPr>
        <p:grpSpPr bwMode="auto">
          <a:xfrm>
            <a:off x="7788131" y="4662926"/>
            <a:ext cx="1097280" cy="313476"/>
            <a:chOff x="444" y="928"/>
            <a:chExt cx="4869" cy="1391"/>
          </a:xfrm>
          <a:solidFill>
            <a:schemeClr val="tx1"/>
          </a:solidFill>
        </p:grpSpPr>
        <p:sp>
          <p:nvSpPr>
            <p:cNvPr id="17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8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9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0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1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2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81577C7-C20B-4E75-8C29-94D46379FC8C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11226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lumn - Lines (blu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4572000" y="1132429"/>
            <a:ext cx="0" cy="330846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95994" y="4657938"/>
            <a:ext cx="1094722" cy="312962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468313" y="1142522"/>
            <a:ext cx="3922712" cy="3308350"/>
          </a:xfrm>
        </p:spPr>
        <p:txBody>
          <a:bodyPr/>
          <a:lstStyle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52970" y="1142522"/>
            <a:ext cx="3922712" cy="3308350"/>
          </a:xfrm>
        </p:spPr>
        <p:txBody>
          <a:bodyPr/>
          <a:lstStyle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7" name="LogoLight"/>
          <p:cNvGrpSpPr>
            <a:grpSpLocks noChangeAspect="1"/>
          </p:cNvGrpSpPr>
          <p:nvPr/>
        </p:nvGrpSpPr>
        <p:grpSpPr bwMode="auto">
          <a:xfrm>
            <a:off x="7788131" y="4662926"/>
            <a:ext cx="1097280" cy="313476"/>
            <a:chOff x="444" y="928"/>
            <a:chExt cx="4869" cy="1391"/>
          </a:xfrm>
          <a:solidFill>
            <a:schemeClr val="tx1"/>
          </a:solidFill>
        </p:grpSpPr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9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1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2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3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81577C7-C20B-4E75-8C29-94D46379FC8C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8236663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or 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498125" y="1229397"/>
            <a:ext cx="4328045" cy="1964653"/>
          </a:xfrm>
        </p:spPr>
        <p:txBody>
          <a:bodyPr anchor="ctr"/>
          <a:lstStyle>
            <a:lvl1pPr algn="l">
              <a:lnSpc>
                <a:spcPct val="100000"/>
              </a:lnSpc>
              <a:defRPr sz="3600" b="1" cap="all"/>
            </a:lvl1pPr>
          </a:lstStyle>
          <a:p>
            <a:r>
              <a:rPr lang="en-US" dirty="0"/>
              <a:t>DIVIDER TIT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97139" y="3194050"/>
            <a:ext cx="4322762" cy="704850"/>
          </a:xfrm>
        </p:spPr>
        <p:txBody>
          <a:bodyPr anchor="t"/>
          <a:lstStyle>
            <a:lvl1pPr marL="0" indent="0">
              <a:buNone/>
              <a:defRPr sz="1400"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2497138" y="1414463"/>
            <a:ext cx="4322762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2497138" y="3006725"/>
            <a:ext cx="4322762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Group 20"/>
          <p:cNvGrpSpPr>
            <a:grpSpLocks noChangeAspect="1"/>
          </p:cNvGrpSpPr>
          <p:nvPr userDrawn="1"/>
        </p:nvGrpSpPr>
        <p:grpSpPr>
          <a:xfrm>
            <a:off x="7651248" y="4407954"/>
            <a:ext cx="1097216" cy="338034"/>
            <a:chOff x="5043330" y="2582427"/>
            <a:chExt cx="2714033" cy="836158"/>
          </a:xfrm>
        </p:grpSpPr>
        <p:pic>
          <p:nvPicPr>
            <p:cNvPr id="22" name="logo graphic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21205" y="2582427"/>
              <a:ext cx="836158" cy="836158"/>
            </a:xfrm>
            <a:prstGeom prst="rect">
              <a:avLst/>
            </a:prstGeom>
          </p:spPr>
        </p:pic>
        <p:grpSp>
          <p:nvGrpSpPr>
            <p:cNvPr id="23" name="letters"/>
            <p:cNvGrpSpPr/>
            <p:nvPr/>
          </p:nvGrpSpPr>
          <p:grpSpPr>
            <a:xfrm>
              <a:off x="5043330" y="2901718"/>
              <a:ext cx="1777426" cy="197580"/>
              <a:chOff x="566670" y="435864"/>
              <a:chExt cx="1169700" cy="130025"/>
            </a:xfrm>
            <a:solidFill>
              <a:schemeClr val="tx1"/>
            </a:solidFill>
          </p:grpSpPr>
          <p:sp>
            <p:nvSpPr>
              <p:cNvPr id="24" name="Freeform 6"/>
              <p:cNvSpPr>
                <a:spLocks/>
              </p:cNvSpPr>
              <p:nvPr/>
            </p:nvSpPr>
            <p:spPr bwMode="auto">
              <a:xfrm>
                <a:off x="566670" y="437296"/>
                <a:ext cx="146069" cy="127448"/>
              </a:xfrm>
              <a:custGeom>
                <a:avLst/>
                <a:gdLst>
                  <a:gd name="T0" fmla="*/ 216 w 216"/>
                  <a:gd name="T1" fmla="*/ 188 h 188"/>
                  <a:gd name="T2" fmla="*/ 178 w 216"/>
                  <a:gd name="T3" fmla="*/ 188 h 188"/>
                  <a:gd name="T4" fmla="*/ 178 w 216"/>
                  <a:gd name="T5" fmla="*/ 66 h 188"/>
                  <a:gd name="T6" fmla="*/ 113 w 216"/>
                  <a:gd name="T7" fmla="*/ 145 h 188"/>
                  <a:gd name="T8" fmla="*/ 103 w 216"/>
                  <a:gd name="T9" fmla="*/ 145 h 188"/>
                  <a:gd name="T10" fmla="*/ 38 w 216"/>
                  <a:gd name="T11" fmla="*/ 66 h 188"/>
                  <a:gd name="T12" fmla="*/ 38 w 216"/>
                  <a:gd name="T13" fmla="*/ 188 h 188"/>
                  <a:gd name="T14" fmla="*/ 0 w 216"/>
                  <a:gd name="T15" fmla="*/ 188 h 188"/>
                  <a:gd name="T16" fmla="*/ 0 w 216"/>
                  <a:gd name="T17" fmla="*/ 20 h 188"/>
                  <a:gd name="T18" fmla="*/ 20 w 216"/>
                  <a:gd name="T19" fmla="*/ 0 h 188"/>
                  <a:gd name="T20" fmla="*/ 20 w 216"/>
                  <a:gd name="T21" fmla="*/ 0 h 188"/>
                  <a:gd name="T22" fmla="*/ 38 w 216"/>
                  <a:gd name="T23" fmla="*/ 9 h 188"/>
                  <a:gd name="T24" fmla="*/ 108 w 216"/>
                  <a:gd name="T25" fmla="*/ 94 h 188"/>
                  <a:gd name="T26" fmla="*/ 182 w 216"/>
                  <a:gd name="T27" fmla="*/ 6 h 188"/>
                  <a:gd name="T28" fmla="*/ 196 w 216"/>
                  <a:gd name="T29" fmla="*/ 0 h 188"/>
                  <a:gd name="T30" fmla="*/ 196 w 216"/>
                  <a:gd name="T31" fmla="*/ 0 h 188"/>
                  <a:gd name="T32" fmla="*/ 216 w 216"/>
                  <a:gd name="T33" fmla="*/ 19 h 188"/>
                  <a:gd name="T34" fmla="*/ 216 w 216"/>
                  <a:gd name="T35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16" h="188">
                    <a:moveTo>
                      <a:pt x="216" y="188"/>
                    </a:moveTo>
                    <a:cubicBezTo>
                      <a:pt x="178" y="188"/>
                      <a:pt x="178" y="188"/>
                      <a:pt x="178" y="188"/>
                    </a:cubicBezTo>
                    <a:cubicBezTo>
                      <a:pt x="178" y="66"/>
                      <a:pt x="178" y="66"/>
                      <a:pt x="178" y="66"/>
                    </a:cubicBezTo>
                    <a:cubicBezTo>
                      <a:pt x="113" y="145"/>
                      <a:pt x="113" y="145"/>
                      <a:pt x="113" y="145"/>
                    </a:cubicBezTo>
                    <a:cubicBezTo>
                      <a:pt x="110" y="148"/>
                      <a:pt x="106" y="148"/>
                      <a:pt x="103" y="145"/>
                    </a:cubicBezTo>
                    <a:cubicBezTo>
                      <a:pt x="38" y="66"/>
                      <a:pt x="38" y="66"/>
                      <a:pt x="38" y="66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8" y="0"/>
                      <a:pt x="32" y="3"/>
                      <a:pt x="38" y="9"/>
                    </a:cubicBezTo>
                    <a:cubicBezTo>
                      <a:pt x="108" y="94"/>
                      <a:pt x="108" y="94"/>
                      <a:pt x="108" y="94"/>
                    </a:cubicBezTo>
                    <a:cubicBezTo>
                      <a:pt x="182" y="6"/>
                      <a:pt x="182" y="6"/>
                      <a:pt x="182" y="6"/>
                    </a:cubicBezTo>
                    <a:cubicBezTo>
                      <a:pt x="185" y="2"/>
                      <a:pt x="190" y="0"/>
                      <a:pt x="196" y="0"/>
                    </a:cubicBezTo>
                    <a:cubicBezTo>
                      <a:pt x="196" y="0"/>
                      <a:pt x="196" y="0"/>
                      <a:pt x="196" y="0"/>
                    </a:cubicBezTo>
                    <a:cubicBezTo>
                      <a:pt x="207" y="0"/>
                      <a:pt x="216" y="8"/>
                      <a:pt x="216" y="19"/>
                    </a:cubicBezTo>
                    <a:lnTo>
                      <a:pt x="216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25" name="Freeform 7"/>
              <p:cNvSpPr>
                <a:spLocks noEditPoints="1"/>
              </p:cNvSpPr>
              <p:nvPr/>
            </p:nvSpPr>
            <p:spPr bwMode="auto">
              <a:xfrm>
                <a:off x="1350862" y="436723"/>
                <a:ext cx="146069" cy="128020"/>
              </a:xfrm>
              <a:custGeom>
                <a:avLst/>
                <a:gdLst>
                  <a:gd name="T0" fmla="*/ 0 w 216"/>
                  <a:gd name="T1" fmla="*/ 189 h 189"/>
                  <a:gd name="T2" fmla="*/ 42 w 216"/>
                  <a:gd name="T3" fmla="*/ 189 h 189"/>
                  <a:gd name="T4" fmla="*/ 66 w 216"/>
                  <a:gd name="T5" fmla="*/ 138 h 189"/>
                  <a:gd name="T6" fmla="*/ 148 w 216"/>
                  <a:gd name="T7" fmla="*/ 138 h 189"/>
                  <a:gd name="T8" fmla="*/ 174 w 216"/>
                  <a:gd name="T9" fmla="*/ 189 h 189"/>
                  <a:gd name="T10" fmla="*/ 216 w 216"/>
                  <a:gd name="T11" fmla="*/ 189 h 189"/>
                  <a:gd name="T12" fmla="*/ 124 w 216"/>
                  <a:gd name="T13" fmla="*/ 9 h 189"/>
                  <a:gd name="T14" fmla="*/ 106 w 216"/>
                  <a:gd name="T15" fmla="*/ 0 h 189"/>
                  <a:gd name="T16" fmla="*/ 106 w 216"/>
                  <a:gd name="T17" fmla="*/ 0 h 189"/>
                  <a:gd name="T18" fmla="*/ 89 w 216"/>
                  <a:gd name="T19" fmla="*/ 9 h 189"/>
                  <a:gd name="T20" fmla="*/ 0 w 216"/>
                  <a:gd name="T21" fmla="*/ 189 h 189"/>
                  <a:gd name="T22" fmla="*/ 106 w 216"/>
                  <a:gd name="T23" fmla="*/ 55 h 189"/>
                  <a:gd name="T24" fmla="*/ 133 w 216"/>
                  <a:gd name="T25" fmla="*/ 108 h 189"/>
                  <a:gd name="T26" fmla="*/ 81 w 216"/>
                  <a:gd name="T27" fmla="*/ 108 h 189"/>
                  <a:gd name="T28" fmla="*/ 106 w 216"/>
                  <a:gd name="T29" fmla="*/ 55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16" h="189">
                    <a:moveTo>
                      <a:pt x="0" y="189"/>
                    </a:moveTo>
                    <a:cubicBezTo>
                      <a:pt x="42" y="189"/>
                      <a:pt x="42" y="189"/>
                      <a:pt x="42" y="189"/>
                    </a:cubicBezTo>
                    <a:cubicBezTo>
                      <a:pt x="66" y="138"/>
                      <a:pt x="66" y="138"/>
                      <a:pt x="66" y="138"/>
                    </a:cubicBezTo>
                    <a:cubicBezTo>
                      <a:pt x="148" y="138"/>
                      <a:pt x="148" y="138"/>
                      <a:pt x="148" y="138"/>
                    </a:cubicBezTo>
                    <a:cubicBezTo>
                      <a:pt x="174" y="189"/>
                      <a:pt x="174" y="189"/>
                      <a:pt x="174" y="189"/>
                    </a:cubicBezTo>
                    <a:cubicBezTo>
                      <a:pt x="216" y="189"/>
                      <a:pt x="216" y="189"/>
                      <a:pt x="216" y="189"/>
                    </a:cubicBezTo>
                    <a:cubicBezTo>
                      <a:pt x="124" y="9"/>
                      <a:pt x="124" y="9"/>
                      <a:pt x="124" y="9"/>
                    </a:cubicBezTo>
                    <a:cubicBezTo>
                      <a:pt x="120" y="3"/>
                      <a:pt x="114" y="0"/>
                      <a:pt x="106" y="0"/>
                    </a:cubicBezTo>
                    <a:cubicBezTo>
                      <a:pt x="106" y="0"/>
                      <a:pt x="106" y="0"/>
                      <a:pt x="106" y="0"/>
                    </a:cubicBezTo>
                    <a:cubicBezTo>
                      <a:pt x="99" y="0"/>
                      <a:pt x="93" y="3"/>
                      <a:pt x="89" y="9"/>
                    </a:cubicBezTo>
                    <a:lnTo>
                      <a:pt x="0" y="189"/>
                    </a:lnTo>
                    <a:close/>
                    <a:moveTo>
                      <a:pt x="106" y="55"/>
                    </a:moveTo>
                    <a:cubicBezTo>
                      <a:pt x="133" y="108"/>
                      <a:pt x="133" y="108"/>
                      <a:pt x="133" y="108"/>
                    </a:cubicBezTo>
                    <a:cubicBezTo>
                      <a:pt x="81" y="108"/>
                      <a:pt x="81" y="108"/>
                      <a:pt x="81" y="108"/>
                    </a:cubicBezTo>
                    <a:lnTo>
                      <a:pt x="106" y="5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26" name="Freeform 8"/>
              <p:cNvSpPr>
                <a:spLocks/>
              </p:cNvSpPr>
              <p:nvPr/>
            </p:nvSpPr>
            <p:spPr bwMode="auto">
              <a:xfrm>
                <a:off x="789211" y="437296"/>
                <a:ext cx="128598" cy="127448"/>
              </a:xfrm>
              <a:custGeom>
                <a:avLst/>
                <a:gdLst>
                  <a:gd name="T0" fmla="*/ 190 w 190"/>
                  <a:gd name="T1" fmla="*/ 188 h 188"/>
                  <a:gd name="T2" fmla="*/ 163 w 190"/>
                  <a:gd name="T3" fmla="*/ 188 h 188"/>
                  <a:gd name="T4" fmla="*/ 38 w 190"/>
                  <a:gd name="T5" fmla="*/ 62 h 188"/>
                  <a:gd name="T6" fmla="*/ 38 w 190"/>
                  <a:gd name="T7" fmla="*/ 188 h 188"/>
                  <a:gd name="T8" fmla="*/ 0 w 190"/>
                  <a:gd name="T9" fmla="*/ 188 h 188"/>
                  <a:gd name="T10" fmla="*/ 0 w 190"/>
                  <a:gd name="T11" fmla="*/ 20 h 188"/>
                  <a:gd name="T12" fmla="*/ 21 w 190"/>
                  <a:gd name="T13" fmla="*/ 0 h 188"/>
                  <a:gd name="T14" fmla="*/ 21 w 190"/>
                  <a:gd name="T15" fmla="*/ 0 h 188"/>
                  <a:gd name="T16" fmla="*/ 36 w 190"/>
                  <a:gd name="T17" fmla="*/ 6 h 188"/>
                  <a:gd name="T18" fmla="*/ 152 w 190"/>
                  <a:gd name="T19" fmla="*/ 123 h 188"/>
                  <a:gd name="T20" fmla="*/ 152 w 190"/>
                  <a:gd name="T21" fmla="*/ 12 h 188"/>
                  <a:gd name="T22" fmla="*/ 165 w 190"/>
                  <a:gd name="T23" fmla="*/ 0 h 188"/>
                  <a:gd name="T24" fmla="*/ 178 w 190"/>
                  <a:gd name="T25" fmla="*/ 0 h 188"/>
                  <a:gd name="T26" fmla="*/ 190 w 190"/>
                  <a:gd name="T27" fmla="*/ 12 h 188"/>
                  <a:gd name="T28" fmla="*/ 190 w 190"/>
                  <a:gd name="T29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0" h="188">
                    <a:moveTo>
                      <a:pt x="190" y="188"/>
                    </a:moveTo>
                    <a:cubicBezTo>
                      <a:pt x="163" y="188"/>
                      <a:pt x="163" y="188"/>
                      <a:pt x="163" y="188"/>
                    </a:cubicBezTo>
                    <a:cubicBezTo>
                      <a:pt x="38" y="62"/>
                      <a:pt x="38" y="62"/>
                      <a:pt x="38" y="62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1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7" y="0"/>
                      <a:pt x="32" y="2"/>
                      <a:pt x="36" y="6"/>
                    </a:cubicBezTo>
                    <a:cubicBezTo>
                      <a:pt x="152" y="123"/>
                      <a:pt x="152" y="123"/>
                      <a:pt x="152" y="123"/>
                    </a:cubicBezTo>
                    <a:cubicBezTo>
                      <a:pt x="152" y="12"/>
                      <a:pt x="152" y="12"/>
                      <a:pt x="152" y="12"/>
                    </a:cubicBezTo>
                    <a:cubicBezTo>
                      <a:pt x="152" y="5"/>
                      <a:pt x="158" y="0"/>
                      <a:pt x="165" y="0"/>
                    </a:cubicBezTo>
                    <a:cubicBezTo>
                      <a:pt x="178" y="0"/>
                      <a:pt x="178" y="0"/>
                      <a:pt x="178" y="0"/>
                    </a:cubicBezTo>
                    <a:cubicBezTo>
                      <a:pt x="185" y="0"/>
                      <a:pt x="190" y="5"/>
                      <a:pt x="190" y="12"/>
                    </a:cubicBezTo>
                    <a:lnTo>
                      <a:pt x="190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27" name="Freeform 9"/>
              <p:cNvSpPr>
                <a:spLocks noEditPoints="1"/>
              </p:cNvSpPr>
              <p:nvPr/>
            </p:nvSpPr>
            <p:spPr bwMode="auto">
              <a:xfrm>
                <a:off x="943586" y="437296"/>
                <a:ext cx="127739" cy="127448"/>
              </a:xfrm>
              <a:custGeom>
                <a:avLst/>
                <a:gdLst>
                  <a:gd name="T0" fmla="*/ 117 w 189"/>
                  <a:gd name="T1" fmla="*/ 4 h 188"/>
                  <a:gd name="T2" fmla="*/ 72 w 189"/>
                  <a:gd name="T3" fmla="*/ 0 h 188"/>
                  <a:gd name="T4" fmla="*/ 19 w 189"/>
                  <a:gd name="T5" fmla="*/ 0 h 188"/>
                  <a:gd name="T6" fmla="*/ 0 w 189"/>
                  <a:gd name="T7" fmla="*/ 18 h 188"/>
                  <a:gd name="T8" fmla="*/ 0 w 189"/>
                  <a:gd name="T9" fmla="*/ 188 h 188"/>
                  <a:gd name="T10" fmla="*/ 62 w 189"/>
                  <a:gd name="T11" fmla="*/ 188 h 188"/>
                  <a:gd name="T12" fmla="*/ 115 w 189"/>
                  <a:gd name="T13" fmla="*/ 182 h 188"/>
                  <a:gd name="T14" fmla="*/ 189 w 189"/>
                  <a:gd name="T15" fmla="*/ 91 h 188"/>
                  <a:gd name="T16" fmla="*/ 117 w 189"/>
                  <a:gd name="T17" fmla="*/ 4 h 188"/>
                  <a:gd name="T18" fmla="*/ 105 w 189"/>
                  <a:gd name="T19" fmla="*/ 148 h 188"/>
                  <a:gd name="T20" fmla="*/ 62 w 189"/>
                  <a:gd name="T21" fmla="*/ 153 h 188"/>
                  <a:gd name="T22" fmla="*/ 62 w 189"/>
                  <a:gd name="T23" fmla="*/ 153 h 188"/>
                  <a:gd name="T24" fmla="*/ 38 w 189"/>
                  <a:gd name="T25" fmla="*/ 153 h 188"/>
                  <a:gd name="T26" fmla="*/ 38 w 189"/>
                  <a:gd name="T27" fmla="*/ 153 h 188"/>
                  <a:gd name="T28" fmla="*/ 38 w 189"/>
                  <a:gd name="T29" fmla="*/ 34 h 188"/>
                  <a:gd name="T30" fmla="*/ 38 w 189"/>
                  <a:gd name="T31" fmla="*/ 34 h 188"/>
                  <a:gd name="T32" fmla="*/ 68 w 189"/>
                  <a:gd name="T33" fmla="*/ 34 h 188"/>
                  <a:gd name="T34" fmla="*/ 68 w 189"/>
                  <a:gd name="T35" fmla="*/ 34 h 188"/>
                  <a:gd name="T36" fmla="*/ 107 w 189"/>
                  <a:gd name="T37" fmla="*/ 38 h 188"/>
                  <a:gd name="T38" fmla="*/ 150 w 189"/>
                  <a:gd name="T39" fmla="*/ 91 h 188"/>
                  <a:gd name="T40" fmla="*/ 105 w 189"/>
                  <a:gd name="T41" fmla="*/ 14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89" h="188">
                    <a:moveTo>
                      <a:pt x="117" y="4"/>
                    </a:moveTo>
                    <a:cubicBezTo>
                      <a:pt x="104" y="1"/>
                      <a:pt x="89" y="0"/>
                      <a:pt x="72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9" y="0"/>
                      <a:pt x="0" y="8"/>
                      <a:pt x="0" y="1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62" y="188"/>
                      <a:pt x="62" y="188"/>
                      <a:pt x="62" y="188"/>
                    </a:cubicBezTo>
                    <a:cubicBezTo>
                      <a:pt x="84" y="188"/>
                      <a:pt x="100" y="186"/>
                      <a:pt x="115" y="182"/>
                    </a:cubicBezTo>
                    <a:cubicBezTo>
                      <a:pt x="163" y="168"/>
                      <a:pt x="189" y="136"/>
                      <a:pt x="189" y="91"/>
                    </a:cubicBezTo>
                    <a:cubicBezTo>
                      <a:pt x="189" y="46"/>
                      <a:pt x="164" y="15"/>
                      <a:pt x="117" y="4"/>
                    </a:cubicBezTo>
                    <a:close/>
                    <a:moveTo>
                      <a:pt x="105" y="148"/>
                    </a:moveTo>
                    <a:cubicBezTo>
                      <a:pt x="94" y="151"/>
                      <a:pt x="79" y="153"/>
                      <a:pt x="62" y="153"/>
                    </a:cubicBezTo>
                    <a:cubicBezTo>
                      <a:pt x="62" y="153"/>
                      <a:pt x="62" y="153"/>
                      <a:pt x="62" y="153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68" y="34"/>
                      <a:pt x="68" y="34"/>
                      <a:pt x="68" y="34"/>
                    </a:cubicBezTo>
                    <a:cubicBezTo>
                      <a:pt x="68" y="34"/>
                      <a:pt x="68" y="34"/>
                      <a:pt x="68" y="34"/>
                    </a:cubicBezTo>
                    <a:cubicBezTo>
                      <a:pt x="86" y="34"/>
                      <a:pt x="97" y="35"/>
                      <a:pt x="107" y="38"/>
                    </a:cubicBezTo>
                    <a:cubicBezTo>
                      <a:pt x="136" y="46"/>
                      <a:pt x="150" y="63"/>
                      <a:pt x="150" y="91"/>
                    </a:cubicBezTo>
                    <a:cubicBezTo>
                      <a:pt x="150" y="120"/>
                      <a:pt x="135" y="139"/>
                      <a:pt x="105" y="14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28" name="Freeform 10"/>
              <p:cNvSpPr>
                <a:spLocks noEditPoints="1"/>
              </p:cNvSpPr>
              <p:nvPr/>
            </p:nvSpPr>
            <p:spPr bwMode="auto">
              <a:xfrm>
                <a:off x="1513256" y="437296"/>
                <a:ext cx="110841" cy="127448"/>
              </a:xfrm>
              <a:custGeom>
                <a:avLst/>
                <a:gdLst>
                  <a:gd name="T0" fmla="*/ 113 w 164"/>
                  <a:gd name="T1" fmla="*/ 113 h 188"/>
                  <a:gd name="T2" fmla="*/ 158 w 164"/>
                  <a:gd name="T3" fmla="*/ 58 h 188"/>
                  <a:gd name="T4" fmla="*/ 82 w 164"/>
                  <a:gd name="T5" fmla="*/ 0 h 188"/>
                  <a:gd name="T6" fmla="*/ 19 w 164"/>
                  <a:gd name="T7" fmla="*/ 0 h 188"/>
                  <a:gd name="T8" fmla="*/ 0 w 164"/>
                  <a:gd name="T9" fmla="*/ 18 h 188"/>
                  <a:gd name="T10" fmla="*/ 0 w 164"/>
                  <a:gd name="T11" fmla="*/ 188 h 188"/>
                  <a:gd name="T12" fmla="*/ 38 w 164"/>
                  <a:gd name="T13" fmla="*/ 188 h 188"/>
                  <a:gd name="T14" fmla="*/ 38 w 164"/>
                  <a:gd name="T15" fmla="*/ 118 h 188"/>
                  <a:gd name="T16" fmla="*/ 72 w 164"/>
                  <a:gd name="T17" fmla="*/ 118 h 188"/>
                  <a:gd name="T18" fmla="*/ 119 w 164"/>
                  <a:gd name="T19" fmla="*/ 188 h 188"/>
                  <a:gd name="T20" fmla="*/ 164 w 164"/>
                  <a:gd name="T21" fmla="*/ 188 h 188"/>
                  <a:gd name="T22" fmla="*/ 113 w 164"/>
                  <a:gd name="T23" fmla="*/ 113 h 188"/>
                  <a:gd name="T24" fmla="*/ 38 w 164"/>
                  <a:gd name="T25" fmla="*/ 83 h 188"/>
                  <a:gd name="T26" fmla="*/ 38 w 164"/>
                  <a:gd name="T27" fmla="*/ 34 h 188"/>
                  <a:gd name="T28" fmla="*/ 85 w 164"/>
                  <a:gd name="T29" fmla="*/ 34 h 188"/>
                  <a:gd name="T30" fmla="*/ 118 w 164"/>
                  <a:gd name="T31" fmla="*/ 59 h 188"/>
                  <a:gd name="T32" fmla="*/ 77 w 164"/>
                  <a:gd name="T33" fmla="*/ 83 h 188"/>
                  <a:gd name="T34" fmla="*/ 38 w 164"/>
                  <a:gd name="T35" fmla="*/ 83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4" h="188">
                    <a:moveTo>
                      <a:pt x="113" y="113"/>
                    </a:moveTo>
                    <a:cubicBezTo>
                      <a:pt x="142" y="105"/>
                      <a:pt x="158" y="86"/>
                      <a:pt x="158" y="58"/>
                    </a:cubicBezTo>
                    <a:cubicBezTo>
                      <a:pt x="158" y="22"/>
                      <a:pt x="129" y="0"/>
                      <a:pt x="82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8" y="0"/>
                      <a:pt x="0" y="8"/>
                      <a:pt x="0" y="1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38" y="118"/>
                      <a:pt x="38" y="118"/>
                      <a:pt x="38" y="118"/>
                    </a:cubicBezTo>
                    <a:cubicBezTo>
                      <a:pt x="72" y="118"/>
                      <a:pt x="72" y="118"/>
                      <a:pt x="72" y="118"/>
                    </a:cubicBezTo>
                    <a:cubicBezTo>
                      <a:pt x="119" y="188"/>
                      <a:pt x="119" y="188"/>
                      <a:pt x="119" y="188"/>
                    </a:cubicBezTo>
                    <a:cubicBezTo>
                      <a:pt x="164" y="188"/>
                      <a:pt x="164" y="188"/>
                      <a:pt x="164" y="188"/>
                    </a:cubicBezTo>
                    <a:lnTo>
                      <a:pt x="113" y="113"/>
                    </a:lnTo>
                    <a:close/>
                    <a:moveTo>
                      <a:pt x="38" y="83"/>
                    </a:moveTo>
                    <a:cubicBezTo>
                      <a:pt x="38" y="34"/>
                      <a:pt x="38" y="34"/>
                      <a:pt x="38" y="34"/>
                    </a:cubicBezTo>
                    <a:cubicBezTo>
                      <a:pt x="85" y="34"/>
                      <a:pt x="85" y="34"/>
                      <a:pt x="85" y="34"/>
                    </a:cubicBezTo>
                    <a:cubicBezTo>
                      <a:pt x="98" y="34"/>
                      <a:pt x="118" y="38"/>
                      <a:pt x="118" y="59"/>
                    </a:cubicBezTo>
                    <a:cubicBezTo>
                      <a:pt x="118" y="69"/>
                      <a:pt x="114" y="83"/>
                      <a:pt x="77" y="83"/>
                    </a:cubicBezTo>
                    <a:lnTo>
                      <a:pt x="38" y="8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29" name="Freeform 11"/>
              <p:cNvSpPr>
                <a:spLocks/>
              </p:cNvSpPr>
              <p:nvPr/>
            </p:nvSpPr>
            <p:spPr bwMode="auto">
              <a:xfrm>
                <a:off x="738516" y="437296"/>
                <a:ext cx="25777" cy="127448"/>
              </a:xfrm>
              <a:custGeom>
                <a:avLst/>
                <a:gdLst>
                  <a:gd name="T0" fmla="*/ 0 w 38"/>
                  <a:gd name="T1" fmla="*/ 188 h 188"/>
                  <a:gd name="T2" fmla="*/ 38 w 38"/>
                  <a:gd name="T3" fmla="*/ 188 h 188"/>
                  <a:gd name="T4" fmla="*/ 38 w 38"/>
                  <a:gd name="T5" fmla="*/ 12 h 188"/>
                  <a:gd name="T6" fmla="*/ 25 w 38"/>
                  <a:gd name="T7" fmla="*/ 0 h 188"/>
                  <a:gd name="T8" fmla="*/ 13 w 38"/>
                  <a:gd name="T9" fmla="*/ 0 h 188"/>
                  <a:gd name="T10" fmla="*/ 0 w 38"/>
                  <a:gd name="T11" fmla="*/ 12 h 188"/>
                  <a:gd name="T12" fmla="*/ 0 w 38"/>
                  <a:gd name="T13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" h="188">
                    <a:moveTo>
                      <a:pt x="0" y="188"/>
                    </a:moveTo>
                    <a:cubicBezTo>
                      <a:pt x="38" y="188"/>
                      <a:pt x="38" y="188"/>
                      <a:pt x="38" y="188"/>
                    </a:cubicBezTo>
                    <a:cubicBezTo>
                      <a:pt x="38" y="12"/>
                      <a:pt x="38" y="12"/>
                      <a:pt x="38" y="12"/>
                    </a:cubicBezTo>
                    <a:cubicBezTo>
                      <a:pt x="38" y="5"/>
                      <a:pt x="32" y="0"/>
                      <a:pt x="25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0" y="5"/>
                      <a:pt x="0" y="12"/>
                    </a:cubicBezTo>
                    <a:lnTo>
                      <a:pt x="0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0" name="Freeform 12"/>
              <p:cNvSpPr>
                <a:spLocks/>
              </p:cNvSpPr>
              <p:nvPr/>
            </p:nvSpPr>
            <p:spPr bwMode="auto">
              <a:xfrm>
                <a:off x="1217394" y="437296"/>
                <a:ext cx="118001" cy="127448"/>
              </a:xfrm>
              <a:custGeom>
                <a:avLst/>
                <a:gdLst>
                  <a:gd name="T0" fmla="*/ 174 w 174"/>
                  <a:gd name="T1" fmla="*/ 188 h 188"/>
                  <a:gd name="T2" fmla="*/ 137 w 174"/>
                  <a:gd name="T3" fmla="*/ 188 h 188"/>
                  <a:gd name="T4" fmla="*/ 137 w 174"/>
                  <a:gd name="T5" fmla="*/ 110 h 188"/>
                  <a:gd name="T6" fmla="*/ 38 w 174"/>
                  <a:gd name="T7" fmla="*/ 110 h 188"/>
                  <a:gd name="T8" fmla="*/ 38 w 174"/>
                  <a:gd name="T9" fmla="*/ 188 h 188"/>
                  <a:gd name="T10" fmla="*/ 0 w 174"/>
                  <a:gd name="T11" fmla="*/ 188 h 188"/>
                  <a:gd name="T12" fmla="*/ 0 w 174"/>
                  <a:gd name="T13" fmla="*/ 12 h 188"/>
                  <a:gd name="T14" fmla="*/ 13 w 174"/>
                  <a:gd name="T15" fmla="*/ 0 h 188"/>
                  <a:gd name="T16" fmla="*/ 25 w 174"/>
                  <a:gd name="T17" fmla="*/ 0 h 188"/>
                  <a:gd name="T18" fmla="*/ 38 w 174"/>
                  <a:gd name="T19" fmla="*/ 12 h 188"/>
                  <a:gd name="T20" fmla="*/ 38 w 174"/>
                  <a:gd name="T21" fmla="*/ 75 h 188"/>
                  <a:gd name="T22" fmla="*/ 137 w 174"/>
                  <a:gd name="T23" fmla="*/ 75 h 188"/>
                  <a:gd name="T24" fmla="*/ 137 w 174"/>
                  <a:gd name="T25" fmla="*/ 12 h 188"/>
                  <a:gd name="T26" fmla="*/ 149 w 174"/>
                  <a:gd name="T27" fmla="*/ 0 h 188"/>
                  <a:gd name="T28" fmla="*/ 162 w 174"/>
                  <a:gd name="T29" fmla="*/ 0 h 188"/>
                  <a:gd name="T30" fmla="*/ 174 w 174"/>
                  <a:gd name="T31" fmla="*/ 12 h 188"/>
                  <a:gd name="T32" fmla="*/ 174 w 174"/>
                  <a:gd name="T33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4" h="188">
                    <a:moveTo>
                      <a:pt x="174" y="188"/>
                    </a:moveTo>
                    <a:cubicBezTo>
                      <a:pt x="137" y="188"/>
                      <a:pt x="137" y="188"/>
                      <a:pt x="137" y="188"/>
                    </a:cubicBezTo>
                    <a:cubicBezTo>
                      <a:pt x="137" y="110"/>
                      <a:pt x="137" y="110"/>
                      <a:pt x="137" y="110"/>
                    </a:cubicBezTo>
                    <a:cubicBezTo>
                      <a:pt x="38" y="110"/>
                      <a:pt x="38" y="110"/>
                      <a:pt x="38" y="110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6" y="0"/>
                      <a:pt x="13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32" y="0"/>
                      <a:pt x="38" y="5"/>
                      <a:pt x="38" y="12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137" y="75"/>
                      <a:pt x="137" y="75"/>
                      <a:pt x="137" y="75"/>
                    </a:cubicBezTo>
                    <a:cubicBezTo>
                      <a:pt x="137" y="12"/>
                      <a:pt x="137" y="12"/>
                      <a:pt x="137" y="12"/>
                    </a:cubicBezTo>
                    <a:cubicBezTo>
                      <a:pt x="137" y="5"/>
                      <a:pt x="142" y="0"/>
                      <a:pt x="149" y="0"/>
                    </a:cubicBezTo>
                    <a:cubicBezTo>
                      <a:pt x="162" y="0"/>
                      <a:pt x="162" y="0"/>
                      <a:pt x="162" y="0"/>
                    </a:cubicBezTo>
                    <a:cubicBezTo>
                      <a:pt x="169" y="0"/>
                      <a:pt x="174" y="5"/>
                      <a:pt x="174" y="12"/>
                    </a:cubicBezTo>
                    <a:lnTo>
                      <a:pt x="174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1" name="Freeform 13"/>
              <p:cNvSpPr>
                <a:spLocks/>
              </p:cNvSpPr>
              <p:nvPr/>
            </p:nvSpPr>
            <p:spPr bwMode="auto">
              <a:xfrm>
                <a:off x="1085646" y="435864"/>
                <a:ext cx="108836" cy="130025"/>
              </a:xfrm>
              <a:custGeom>
                <a:avLst/>
                <a:gdLst>
                  <a:gd name="T0" fmla="*/ 90 w 161"/>
                  <a:gd name="T1" fmla="*/ 78 h 192"/>
                  <a:gd name="T2" fmla="*/ 46 w 161"/>
                  <a:gd name="T3" fmla="*/ 56 h 192"/>
                  <a:gd name="T4" fmla="*/ 83 w 161"/>
                  <a:gd name="T5" fmla="*/ 36 h 192"/>
                  <a:gd name="T6" fmla="*/ 139 w 161"/>
                  <a:gd name="T7" fmla="*/ 49 h 192"/>
                  <a:gd name="T8" fmla="*/ 140 w 161"/>
                  <a:gd name="T9" fmla="*/ 49 h 192"/>
                  <a:gd name="T10" fmla="*/ 145 w 161"/>
                  <a:gd name="T11" fmla="*/ 47 h 192"/>
                  <a:gd name="T12" fmla="*/ 156 w 161"/>
                  <a:gd name="T13" fmla="*/ 25 h 192"/>
                  <a:gd name="T14" fmla="*/ 156 w 161"/>
                  <a:gd name="T15" fmla="*/ 23 h 192"/>
                  <a:gd name="T16" fmla="*/ 153 w 161"/>
                  <a:gd name="T17" fmla="*/ 18 h 192"/>
                  <a:gd name="T18" fmla="*/ 152 w 161"/>
                  <a:gd name="T19" fmla="*/ 17 h 192"/>
                  <a:gd name="T20" fmla="*/ 81 w 161"/>
                  <a:gd name="T21" fmla="*/ 0 h 192"/>
                  <a:gd name="T22" fmla="*/ 7 w 161"/>
                  <a:gd name="T23" fmla="*/ 57 h 192"/>
                  <a:gd name="T24" fmla="*/ 25 w 161"/>
                  <a:gd name="T25" fmla="*/ 96 h 192"/>
                  <a:gd name="T26" fmla="*/ 80 w 161"/>
                  <a:gd name="T27" fmla="*/ 113 h 192"/>
                  <a:gd name="T28" fmla="*/ 122 w 161"/>
                  <a:gd name="T29" fmla="*/ 133 h 192"/>
                  <a:gd name="T30" fmla="*/ 78 w 161"/>
                  <a:gd name="T31" fmla="*/ 157 h 192"/>
                  <a:gd name="T32" fmla="*/ 22 w 161"/>
                  <a:gd name="T33" fmla="*/ 142 h 192"/>
                  <a:gd name="T34" fmla="*/ 18 w 161"/>
                  <a:gd name="T35" fmla="*/ 139 h 192"/>
                  <a:gd name="T36" fmla="*/ 15 w 161"/>
                  <a:gd name="T37" fmla="*/ 143 h 192"/>
                  <a:gd name="T38" fmla="*/ 2 w 161"/>
                  <a:gd name="T39" fmla="*/ 166 h 192"/>
                  <a:gd name="T40" fmla="*/ 0 w 161"/>
                  <a:gd name="T41" fmla="*/ 170 h 192"/>
                  <a:gd name="T42" fmla="*/ 4 w 161"/>
                  <a:gd name="T43" fmla="*/ 172 h 192"/>
                  <a:gd name="T44" fmla="*/ 77 w 161"/>
                  <a:gd name="T45" fmla="*/ 192 h 192"/>
                  <a:gd name="T46" fmla="*/ 161 w 161"/>
                  <a:gd name="T47" fmla="*/ 132 h 192"/>
                  <a:gd name="T48" fmla="*/ 90 w 161"/>
                  <a:gd name="T49" fmla="*/ 78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61" h="192">
                    <a:moveTo>
                      <a:pt x="90" y="78"/>
                    </a:moveTo>
                    <a:cubicBezTo>
                      <a:pt x="63" y="74"/>
                      <a:pt x="46" y="71"/>
                      <a:pt x="46" y="56"/>
                    </a:cubicBezTo>
                    <a:cubicBezTo>
                      <a:pt x="46" y="43"/>
                      <a:pt x="60" y="36"/>
                      <a:pt x="83" y="36"/>
                    </a:cubicBezTo>
                    <a:cubicBezTo>
                      <a:pt x="109" y="36"/>
                      <a:pt x="130" y="45"/>
                      <a:pt x="139" y="49"/>
                    </a:cubicBezTo>
                    <a:cubicBezTo>
                      <a:pt x="139" y="49"/>
                      <a:pt x="139" y="49"/>
                      <a:pt x="140" y="49"/>
                    </a:cubicBezTo>
                    <a:cubicBezTo>
                      <a:pt x="142" y="49"/>
                      <a:pt x="144" y="49"/>
                      <a:pt x="145" y="47"/>
                    </a:cubicBezTo>
                    <a:cubicBezTo>
                      <a:pt x="156" y="25"/>
                      <a:pt x="156" y="25"/>
                      <a:pt x="156" y="25"/>
                    </a:cubicBezTo>
                    <a:cubicBezTo>
                      <a:pt x="156" y="24"/>
                      <a:pt x="156" y="23"/>
                      <a:pt x="156" y="23"/>
                    </a:cubicBezTo>
                    <a:cubicBezTo>
                      <a:pt x="156" y="21"/>
                      <a:pt x="155" y="19"/>
                      <a:pt x="153" y="18"/>
                    </a:cubicBezTo>
                    <a:cubicBezTo>
                      <a:pt x="152" y="17"/>
                      <a:pt x="152" y="17"/>
                      <a:pt x="152" y="17"/>
                    </a:cubicBezTo>
                    <a:cubicBezTo>
                      <a:pt x="133" y="7"/>
                      <a:pt x="106" y="0"/>
                      <a:pt x="81" y="0"/>
                    </a:cubicBezTo>
                    <a:cubicBezTo>
                      <a:pt x="35" y="0"/>
                      <a:pt x="7" y="22"/>
                      <a:pt x="7" y="57"/>
                    </a:cubicBezTo>
                    <a:cubicBezTo>
                      <a:pt x="7" y="75"/>
                      <a:pt x="13" y="87"/>
                      <a:pt x="25" y="96"/>
                    </a:cubicBezTo>
                    <a:cubicBezTo>
                      <a:pt x="40" y="107"/>
                      <a:pt x="61" y="110"/>
                      <a:pt x="80" y="113"/>
                    </a:cubicBezTo>
                    <a:cubicBezTo>
                      <a:pt x="106" y="117"/>
                      <a:pt x="122" y="119"/>
                      <a:pt x="122" y="133"/>
                    </a:cubicBezTo>
                    <a:cubicBezTo>
                      <a:pt x="122" y="155"/>
                      <a:pt x="91" y="157"/>
                      <a:pt x="78" y="157"/>
                    </a:cubicBezTo>
                    <a:cubicBezTo>
                      <a:pt x="57" y="157"/>
                      <a:pt x="38" y="152"/>
                      <a:pt x="22" y="142"/>
                    </a:cubicBezTo>
                    <a:cubicBezTo>
                      <a:pt x="18" y="139"/>
                      <a:pt x="18" y="139"/>
                      <a:pt x="18" y="139"/>
                    </a:cubicBezTo>
                    <a:cubicBezTo>
                      <a:pt x="15" y="143"/>
                      <a:pt x="15" y="143"/>
                      <a:pt x="15" y="143"/>
                    </a:cubicBezTo>
                    <a:cubicBezTo>
                      <a:pt x="2" y="166"/>
                      <a:pt x="2" y="166"/>
                      <a:pt x="2" y="166"/>
                    </a:cubicBezTo>
                    <a:cubicBezTo>
                      <a:pt x="0" y="170"/>
                      <a:pt x="0" y="170"/>
                      <a:pt x="0" y="170"/>
                    </a:cubicBezTo>
                    <a:cubicBezTo>
                      <a:pt x="4" y="172"/>
                      <a:pt x="4" y="172"/>
                      <a:pt x="4" y="172"/>
                    </a:cubicBezTo>
                    <a:cubicBezTo>
                      <a:pt x="18" y="181"/>
                      <a:pt x="42" y="192"/>
                      <a:pt x="77" y="192"/>
                    </a:cubicBezTo>
                    <a:cubicBezTo>
                      <a:pt x="128" y="192"/>
                      <a:pt x="161" y="169"/>
                      <a:pt x="161" y="132"/>
                    </a:cubicBezTo>
                    <a:cubicBezTo>
                      <a:pt x="161" y="88"/>
                      <a:pt x="122" y="82"/>
                      <a:pt x="90" y="7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2" name="Freeform 14"/>
              <p:cNvSpPr>
                <a:spLocks/>
              </p:cNvSpPr>
              <p:nvPr/>
            </p:nvSpPr>
            <p:spPr bwMode="auto">
              <a:xfrm>
                <a:off x="1642427" y="437296"/>
                <a:ext cx="93943" cy="127448"/>
              </a:xfrm>
              <a:custGeom>
                <a:avLst/>
                <a:gdLst>
                  <a:gd name="T0" fmla="*/ 128 w 139"/>
                  <a:gd name="T1" fmla="*/ 103 h 188"/>
                  <a:gd name="T2" fmla="*/ 121 w 139"/>
                  <a:gd name="T3" fmla="*/ 110 h 188"/>
                  <a:gd name="T4" fmla="*/ 38 w 139"/>
                  <a:gd name="T5" fmla="*/ 110 h 188"/>
                  <a:gd name="T6" fmla="*/ 38 w 139"/>
                  <a:gd name="T7" fmla="*/ 153 h 188"/>
                  <a:gd name="T8" fmla="*/ 139 w 139"/>
                  <a:gd name="T9" fmla="*/ 153 h 188"/>
                  <a:gd name="T10" fmla="*/ 139 w 139"/>
                  <a:gd name="T11" fmla="*/ 188 h 188"/>
                  <a:gd name="T12" fmla="*/ 0 w 139"/>
                  <a:gd name="T13" fmla="*/ 188 h 188"/>
                  <a:gd name="T14" fmla="*/ 0 w 139"/>
                  <a:gd name="T15" fmla="*/ 18 h 188"/>
                  <a:gd name="T16" fmla="*/ 19 w 139"/>
                  <a:gd name="T17" fmla="*/ 0 h 188"/>
                  <a:gd name="T18" fmla="*/ 130 w 139"/>
                  <a:gd name="T19" fmla="*/ 0 h 188"/>
                  <a:gd name="T20" fmla="*/ 137 w 139"/>
                  <a:gd name="T21" fmla="*/ 6 h 188"/>
                  <a:gd name="T22" fmla="*/ 137 w 139"/>
                  <a:gd name="T23" fmla="*/ 27 h 188"/>
                  <a:gd name="T24" fmla="*/ 130 w 139"/>
                  <a:gd name="T25" fmla="*/ 34 h 188"/>
                  <a:gd name="T26" fmla="*/ 38 w 139"/>
                  <a:gd name="T27" fmla="*/ 34 h 188"/>
                  <a:gd name="T28" fmla="*/ 38 w 139"/>
                  <a:gd name="T29" fmla="*/ 75 h 188"/>
                  <a:gd name="T30" fmla="*/ 121 w 139"/>
                  <a:gd name="T31" fmla="*/ 75 h 188"/>
                  <a:gd name="T32" fmla="*/ 128 w 139"/>
                  <a:gd name="T33" fmla="*/ 82 h 188"/>
                  <a:gd name="T34" fmla="*/ 128 w 139"/>
                  <a:gd name="T35" fmla="*/ 103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9" h="188">
                    <a:moveTo>
                      <a:pt x="128" y="103"/>
                    </a:moveTo>
                    <a:cubicBezTo>
                      <a:pt x="128" y="107"/>
                      <a:pt x="124" y="110"/>
                      <a:pt x="121" y="110"/>
                    </a:cubicBezTo>
                    <a:cubicBezTo>
                      <a:pt x="38" y="110"/>
                      <a:pt x="38" y="110"/>
                      <a:pt x="38" y="110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139" y="153"/>
                      <a:pt x="139" y="153"/>
                      <a:pt x="139" y="153"/>
                    </a:cubicBezTo>
                    <a:cubicBezTo>
                      <a:pt x="139" y="188"/>
                      <a:pt x="139" y="188"/>
                      <a:pt x="139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9" y="0"/>
                      <a:pt x="19" y="0"/>
                    </a:cubicBezTo>
                    <a:cubicBezTo>
                      <a:pt x="130" y="0"/>
                      <a:pt x="130" y="0"/>
                      <a:pt x="130" y="0"/>
                    </a:cubicBezTo>
                    <a:cubicBezTo>
                      <a:pt x="134" y="0"/>
                      <a:pt x="137" y="2"/>
                      <a:pt x="137" y="6"/>
                    </a:cubicBezTo>
                    <a:cubicBezTo>
                      <a:pt x="137" y="27"/>
                      <a:pt x="137" y="27"/>
                      <a:pt x="137" y="27"/>
                    </a:cubicBezTo>
                    <a:cubicBezTo>
                      <a:pt x="137" y="32"/>
                      <a:pt x="134" y="34"/>
                      <a:pt x="130" y="34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121" y="75"/>
                      <a:pt x="121" y="75"/>
                      <a:pt x="121" y="75"/>
                    </a:cubicBezTo>
                    <a:cubicBezTo>
                      <a:pt x="124" y="75"/>
                      <a:pt x="128" y="77"/>
                      <a:pt x="128" y="82"/>
                    </a:cubicBezTo>
                    <a:lnTo>
                      <a:pt x="128" y="10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43699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&amp; Objec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008" y="1143000"/>
            <a:ext cx="2845113" cy="33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3708400" y="1143000"/>
            <a:ext cx="4967288" cy="33083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2" name="LogoDark"/>
          <p:cNvGrpSpPr>
            <a:grpSpLocks noChangeAspect="1"/>
          </p:cNvGrpSpPr>
          <p:nvPr/>
        </p:nvGrpSpPr>
        <p:grpSpPr bwMode="auto">
          <a:xfrm>
            <a:off x="7788131" y="4662926"/>
            <a:ext cx="1097280" cy="313476"/>
            <a:chOff x="444" y="928"/>
            <a:chExt cx="4869" cy="1391"/>
          </a:xfrm>
          <a:solidFill>
            <a:schemeClr val="tx1"/>
          </a:solidFill>
        </p:grpSpPr>
        <p:sp>
          <p:nvSpPr>
            <p:cNvPr id="13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6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8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1577C7-C20B-4E75-8C29-94D46379FC8C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411985811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&amp; Object - Lines 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1" y="0"/>
            <a:ext cx="913588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008" y="1143000"/>
            <a:ext cx="2845113" cy="33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3708400" y="1143000"/>
            <a:ext cx="4967288" cy="33083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3" name="LogoDark"/>
          <p:cNvGrpSpPr>
            <a:grpSpLocks noChangeAspect="1"/>
          </p:cNvGrpSpPr>
          <p:nvPr/>
        </p:nvGrpSpPr>
        <p:grpSpPr bwMode="auto">
          <a:xfrm>
            <a:off x="7788131" y="4662926"/>
            <a:ext cx="1097280" cy="313476"/>
            <a:chOff x="444" y="928"/>
            <a:chExt cx="4869" cy="1391"/>
          </a:xfrm>
          <a:solidFill>
            <a:schemeClr val="tx1"/>
          </a:solidFill>
        </p:grpSpPr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5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7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9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1577C7-C20B-4E75-8C29-94D46379FC8C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415187415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&amp; Object -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008" y="1143000"/>
            <a:ext cx="2845113" cy="3309800"/>
          </a:xfrm>
        </p:spPr>
        <p:txBody>
          <a:bodyPr/>
          <a:lstStyle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3708400" y="1143000"/>
            <a:ext cx="4967288" cy="3308350"/>
          </a:xfrm>
        </p:spPr>
        <p:txBody>
          <a:bodyPr/>
          <a:lstStyle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4" name="LogoLight"/>
          <p:cNvGrpSpPr>
            <a:grpSpLocks noChangeAspect="1"/>
          </p:cNvGrpSpPr>
          <p:nvPr/>
        </p:nvGrpSpPr>
        <p:grpSpPr bwMode="auto">
          <a:xfrm>
            <a:off x="7788131" y="4662926"/>
            <a:ext cx="1097280" cy="313476"/>
            <a:chOff x="444" y="928"/>
            <a:chExt cx="4869" cy="1391"/>
          </a:xfrm>
          <a:solidFill>
            <a:schemeClr val="tx1"/>
          </a:solidFill>
        </p:grpSpPr>
        <p:sp>
          <p:nvSpPr>
            <p:cNvPr id="15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6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7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8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9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0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1577C7-C20B-4E75-8C29-94D46379FC8C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9599895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&amp; Object - Lines (blu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008" y="1143000"/>
            <a:ext cx="2845113" cy="3309800"/>
          </a:xfrm>
        </p:spPr>
        <p:txBody>
          <a:bodyPr/>
          <a:lstStyle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3708400" y="1143000"/>
            <a:ext cx="4967288" cy="3308350"/>
          </a:xfrm>
        </p:spPr>
        <p:txBody>
          <a:bodyPr/>
          <a:lstStyle>
            <a:lvl3pPr>
              <a:defRPr>
                <a:solidFill>
                  <a:schemeClr val="accent2"/>
                </a:solidFill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22" name="LogoLight"/>
          <p:cNvGrpSpPr>
            <a:grpSpLocks noChangeAspect="1"/>
          </p:cNvGrpSpPr>
          <p:nvPr/>
        </p:nvGrpSpPr>
        <p:grpSpPr bwMode="auto">
          <a:xfrm>
            <a:off x="7788131" y="4662926"/>
            <a:ext cx="1097280" cy="313476"/>
            <a:chOff x="444" y="928"/>
            <a:chExt cx="4869" cy="1391"/>
          </a:xfrm>
          <a:solidFill>
            <a:schemeClr val="tx1"/>
          </a:solidFill>
        </p:grpSpPr>
        <p:sp>
          <p:nvSpPr>
            <p:cNvPr id="23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4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5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6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7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8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1577C7-C20B-4E75-8C29-94D46379FC8C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3593663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ree Colum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007" y="1143000"/>
            <a:ext cx="2484751" cy="3309800"/>
          </a:xfrm>
        </p:spPr>
        <p:txBody>
          <a:bodyPr/>
          <a:lstStyle>
            <a:lvl1pPr>
              <a:defRPr sz="1800" b="1">
                <a:solidFill>
                  <a:schemeClr val="tx1"/>
                </a:solidFill>
              </a:defRPr>
            </a:lvl1pPr>
            <a:lvl2pPr>
              <a:defRPr sz="1800" b="1">
                <a:solidFill>
                  <a:schemeClr val="tx1"/>
                </a:solidFill>
              </a:defRPr>
            </a:lvl2pPr>
            <a:lvl3pPr>
              <a:defRPr sz="1800" b="1">
                <a:solidFill>
                  <a:schemeClr val="tx1"/>
                </a:solidFill>
              </a:defRPr>
            </a:lvl3pPr>
            <a:lvl4pPr>
              <a:defRPr sz="1800" b="1">
                <a:solidFill>
                  <a:schemeClr val="tx1"/>
                </a:solidFill>
              </a:defRPr>
            </a:lvl4pPr>
            <a:lvl5pPr>
              <a:defRPr sz="18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6191250" y="1143000"/>
            <a:ext cx="2484438" cy="3310048"/>
          </a:xfrm>
        </p:spPr>
        <p:txBody>
          <a:bodyPr/>
          <a:lstStyle>
            <a:lvl2pPr>
              <a:defRPr>
                <a:solidFill>
                  <a:schemeClr val="accent1"/>
                </a:solidFill>
              </a:defRPr>
            </a:lvl2pPr>
          </a:lstStyle>
          <a:p>
            <a:pPr lvl="1"/>
            <a:r>
              <a:rPr lang="en-GB" dirty="0"/>
              <a:t>Level two is the subheading format</a:t>
            </a:r>
          </a:p>
          <a:p>
            <a:pPr lvl="3"/>
            <a:r>
              <a:rPr lang="en-GB" dirty="0"/>
              <a:t>Level four is the first level of bullets</a:t>
            </a:r>
          </a:p>
          <a:p>
            <a:pPr lvl="4"/>
            <a:r>
              <a:rPr lang="en-GB" dirty="0"/>
              <a:t>Level five is the second level of bullets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/>
          </p:nvPr>
        </p:nvSpPr>
        <p:spPr>
          <a:xfrm>
            <a:off x="3313121" y="1143000"/>
            <a:ext cx="2517775" cy="3310048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11" name="Straight Connector 10"/>
          <p:cNvCxnSpPr/>
          <p:nvPr/>
        </p:nvCxnSpPr>
        <p:spPr>
          <a:xfrm flipH="1">
            <a:off x="3132939" y="1132431"/>
            <a:ext cx="1837" cy="3308459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6008344" y="1132431"/>
            <a:ext cx="0" cy="3308459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LogoDark"/>
          <p:cNvGrpSpPr>
            <a:grpSpLocks noChangeAspect="1"/>
          </p:cNvGrpSpPr>
          <p:nvPr/>
        </p:nvGrpSpPr>
        <p:grpSpPr bwMode="auto">
          <a:xfrm>
            <a:off x="7788131" y="4662926"/>
            <a:ext cx="1097280" cy="313476"/>
            <a:chOff x="444" y="928"/>
            <a:chExt cx="4869" cy="1391"/>
          </a:xfrm>
          <a:solidFill>
            <a:schemeClr val="tx1"/>
          </a:solidFill>
        </p:grpSpPr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9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1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2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3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1577C7-C20B-4E75-8C29-94D46379FC8C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88465394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ree Column - Lines 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cxnSp>
        <p:nvCxnSpPr>
          <p:cNvPr id="11" name="Straight Connector 10"/>
          <p:cNvCxnSpPr/>
          <p:nvPr/>
        </p:nvCxnSpPr>
        <p:spPr>
          <a:xfrm flipH="1">
            <a:off x="3132939" y="1132431"/>
            <a:ext cx="1837" cy="3308459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6008344" y="1132431"/>
            <a:ext cx="0" cy="3308459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68007" y="1143000"/>
            <a:ext cx="2484751" cy="3309800"/>
          </a:xfrm>
        </p:spPr>
        <p:txBody>
          <a:bodyPr/>
          <a:lstStyle>
            <a:lvl1pPr>
              <a:defRPr sz="1800" b="1">
                <a:solidFill>
                  <a:schemeClr val="tx1"/>
                </a:solidFill>
              </a:defRPr>
            </a:lvl1pPr>
            <a:lvl2pPr>
              <a:defRPr sz="1800" b="1">
                <a:solidFill>
                  <a:schemeClr val="tx1"/>
                </a:solidFill>
              </a:defRPr>
            </a:lvl2pPr>
            <a:lvl3pPr>
              <a:defRPr sz="1800" b="1">
                <a:solidFill>
                  <a:schemeClr val="tx1"/>
                </a:solidFill>
              </a:defRPr>
            </a:lvl3pPr>
            <a:lvl4pPr>
              <a:defRPr sz="1800" b="1">
                <a:solidFill>
                  <a:schemeClr val="tx1"/>
                </a:solidFill>
              </a:defRPr>
            </a:lvl4pPr>
            <a:lvl5pPr>
              <a:defRPr sz="18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6191250" y="1143000"/>
            <a:ext cx="2484438" cy="3310048"/>
          </a:xfrm>
        </p:spPr>
        <p:txBody>
          <a:bodyPr/>
          <a:lstStyle>
            <a:lvl2pPr>
              <a:defRPr>
                <a:solidFill>
                  <a:schemeClr val="accent1"/>
                </a:solidFill>
              </a:defRPr>
            </a:lvl2pPr>
          </a:lstStyle>
          <a:p>
            <a:pPr lvl="1"/>
            <a:r>
              <a:rPr lang="en-GB" dirty="0"/>
              <a:t>Level two is the subheading format</a:t>
            </a:r>
          </a:p>
          <a:p>
            <a:pPr lvl="3"/>
            <a:r>
              <a:rPr lang="en-GB" dirty="0"/>
              <a:t>Level four is the first level of bullets</a:t>
            </a:r>
          </a:p>
          <a:p>
            <a:pPr lvl="4"/>
            <a:r>
              <a:rPr lang="en-GB" dirty="0"/>
              <a:t>Level five is the second level of bullets</a:t>
            </a:r>
          </a:p>
        </p:txBody>
      </p:sp>
      <p:sp>
        <p:nvSpPr>
          <p:cNvPr id="17" name="Content Placeholder 8"/>
          <p:cNvSpPr>
            <a:spLocks noGrp="1"/>
          </p:cNvSpPr>
          <p:nvPr>
            <p:ph sz="quarter" idx="14"/>
          </p:nvPr>
        </p:nvSpPr>
        <p:spPr>
          <a:xfrm>
            <a:off x="3313121" y="1143000"/>
            <a:ext cx="2517775" cy="3310048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21" name="LogoDark"/>
          <p:cNvGrpSpPr>
            <a:grpSpLocks noChangeAspect="1"/>
          </p:cNvGrpSpPr>
          <p:nvPr/>
        </p:nvGrpSpPr>
        <p:grpSpPr bwMode="auto">
          <a:xfrm>
            <a:off x="7788131" y="4662926"/>
            <a:ext cx="1097280" cy="313476"/>
            <a:chOff x="444" y="928"/>
            <a:chExt cx="4869" cy="1391"/>
          </a:xfrm>
          <a:solidFill>
            <a:schemeClr val="tx1"/>
          </a:solidFill>
        </p:grpSpPr>
        <p:sp>
          <p:nvSpPr>
            <p:cNvPr id="22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3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4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5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6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7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1577C7-C20B-4E75-8C29-94D46379FC8C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12245624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ree Column -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3132000" y="1125720"/>
            <a:ext cx="0" cy="330846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468007" y="1143000"/>
            <a:ext cx="2484751" cy="3309800"/>
          </a:xfrm>
        </p:spPr>
        <p:txBody>
          <a:bodyPr/>
          <a:lstStyle>
            <a:lvl1pPr>
              <a:defRPr sz="1800" b="1">
                <a:solidFill>
                  <a:schemeClr val="tx1"/>
                </a:solidFill>
              </a:defRPr>
            </a:lvl1pPr>
            <a:lvl2pPr>
              <a:defRPr sz="1800" b="1">
                <a:solidFill>
                  <a:schemeClr val="bg1"/>
                </a:solidFill>
              </a:defRPr>
            </a:lvl2pPr>
            <a:lvl3pPr>
              <a:defRPr sz="1800" b="1">
                <a:solidFill>
                  <a:schemeClr val="bg1"/>
                </a:solidFill>
              </a:defRPr>
            </a:lvl3pPr>
            <a:lvl4pPr>
              <a:defRPr sz="1800" b="1">
                <a:solidFill>
                  <a:schemeClr val="bg1"/>
                </a:solidFill>
              </a:defRPr>
            </a:lvl4pPr>
            <a:lvl5pPr>
              <a:defRPr sz="1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6191250" y="1143000"/>
            <a:ext cx="2484438" cy="3310048"/>
          </a:xfrm>
        </p:spPr>
        <p:txBody>
          <a:bodyPr/>
          <a:lstStyle>
            <a:lvl1pPr>
              <a:defRPr lang="en-GB" dirty="0" smtClean="0">
                <a:solidFill>
                  <a:schemeClr val="tx1"/>
                </a:solidFill>
              </a:defRPr>
            </a:lvl1pPr>
            <a:lvl2pPr>
              <a:defRPr lang="en-GB" dirty="0" smtClean="0">
                <a:solidFill>
                  <a:schemeClr val="accent2"/>
                </a:solidFill>
              </a:defRPr>
            </a:lvl2pPr>
            <a:lvl4pPr>
              <a:defRPr lang="en-GB" dirty="0" smtClean="0">
                <a:solidFill>
                  <a:schemeClr val="tx1"/>
                </a:solidFill>
              </a:defRPr>
            </a:lvl4pPr>
            <a:lvl5pPr>
              <a:defRPr lang="en-GB" dirty="0" smtClean="0">
                <a:solidFill>
                  <a:schemeClr val="tx1"/>
                </a:solidFill>
              </a:defRPr>
            </a:lvl5pPr>
          </a:lstStyle>
          <a:p>
            <a:pPr lvl="1"/>
            <a:r>
              <a:rPr lang="en-GB" dirty="0">
                <a:solidFill>
                  <a:schemeClr val="accent2"/>
                </a:solidFill>
              </a:rPr>
              <a:t>Level two is the subheading format</a:t>
            </a:r>
          </a:p>
          <a:p>
            <a:pPr lvl="3"/>
            <a:r>
              <a:rPr lang="en-GB" dirty="0"/>
              <a:t>Level four is the first level of bullets</a:t>
            </a:r>
          </a:p>
          <a:p>
            <a:pPr lvl="4"/>
            <a:r>
              <a:rPr lang="en-GB" dirty="0"/>
              <a:t>Level five is the second level of bullets</a:t>
            </a:r>
          </a:p>
          <a:p>
            <a:pPr lvl="1"/>
            <a:endParaRPr lang="en-GB" dirty="0">
              <a:solidFill>
                <a:schemeClr val="accent2"/>
              </a:solidFill>
            </a:endParaRPr>
          </a:p>
        </p:txBody>
      </p:sp>
      <p:sp>
        <p:nvSpPr>
          <p:cNvPr id="17" name="Content Placeholder 8"/>
          <p:cNvSpPr>
            <a:spLocks noGrp="1"/>
          </p:cNvSpPr>
          <p:nvPr>
            <p:ph sz="quarter" idx="14"/>
          </p:nvPr>
        </p:nvSpPr>
        <p:spPr>
          <a:xfrm>
            <a:off x="3313121" y="1143000"/>
            <a:ext cx="2517775" cy="3310048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26" name="LogoLight"/>
          <p:cNvGrpSpPr>
            <a:grpSpLocks noChangeAspect="1"/>
          </p:cNvGrpSpPr>
          <p:nvPr/>
        </p:nvGrpSpPr>
        <p:grpSpPr bwMode="auto">
          <a:xfrm>
            <a:off x="7788131" y="4662926"/>
            <a:ext cx="1097280" cy="313476"/>
            <a:chOff x="444" y="928"/>
            <a:chExt cx="4869" cy="1391"/>
          </a:xfrm>
          <a:solidFill>
            <a:schemeClr val="tx1"/>
          </a:solidFill>
        </p:grpSpPr>
        <p:sp>
          <p:nvSpPr>
            <p:cNvPr id="27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8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9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0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1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2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cxnSp>
        <p:nvCxnSpPr>
          <p:cNvPr id="11" name="Straight Connector 10"/>
          <p:cNvCxnSpPr/>
          <p:nvPr/>
        </p:nvCxnSpPr>
        <p:spPr>
          <a:xfrm>
            <a:off x="6008400" y="1132429"/>
            <a:ext cx="0" cy="330846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1577C7-C20B-4E75-8C29-94D46379FC8C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42944400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ree Column - Lines (blu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3132000" y="1125720"/>
            <a:ext cx="0" cy="330846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6008400" y="1132429"/>
            <a:ext cx="0" cy="3308461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468007" y="1143000"/>
            <a:ext cx="2484751" cy="3309800"/>
          </a:xfrm>
        </p:spPr>
        <p:txBody>
          <a:bodyPr/>
          <a:lstStyle>
            <a:lvl1pPr>
              <a:defRPr sz="1800" b="1">
                <a:solidFill>
                  <a:schemeClr val="tx1"/>
                </a:solidFill>
              </a:defRPr>
            </a:lvl1pPr>
            <a:lvl2pPr>
              <a:defRPr sz="1800" b="1">
                <a:solidFill>
                  <a:schemeClr val="bg1"/>
                </a:solidFill>
              </a:defRPr>
            </a:lvl2pPr>
            <a:lvl3pPr>
              <a:defRPr sz="1800" b="1">
                <a:solidFill>
                  <a:schemeClr val="bg1"/>
                </a:solidFill>
              </a:defRPr>
            </a:lvl3pPr>
            <a:lvl4pPr>
              <a:defRPr sz="1800" b="1">
                <a:solidFill>
                  <a:schemeClr val="bg1"/>
                </a:solidFill>
              </a:defRPr>
            </a:lvl4pPr>
            <a:lvl5pPr>
              <a:defRPr sz="1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6191250" y="1143000"/>
            <a:ext cx="2484438" cy="3310048"/>
          </a:xfrm>
        </p:spPr>
        <p:txBody>
          <a:bodyPr/>
          <a:lstStyle>
            <a:lvl2pPr>
              <a:defRPr>
                <a:solidFill>
                  <a:schemeClr val="accent2"/>
                </a:solidFill>
              </a:defRPr>
            </a:lvl2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1"/>
            <a:r>
              <a:rPr lang="en-GB" dirty="0">
                <a:solidFill>
                  <a:schemeClr val="accent2"/>
                </a:solidFill>
              </a:rPr>
              <a:t>Level two is the subheading format</a:t>
            </a:r>
          </a:p>
          <a:p>
            <a:pPr lvl="3"/>
            <a:r>
              <a:rPr lang="en-GB" dirty="0"/>
              <a:t>Level four is the first level of bullets</a:t>
            </a:r>
          </a:p>
          <a:p>
            <a:pPr lvl="4"/>
            <a:r>
              <a:rPr lang="en-GB" dirty="0"/>
              <a:t>Level five is the second level of bullets</a:t>
            </a:r>
          </a:p>
        </p:txBody>
      </p:sp>
      <p:sp>
        <p:nvSpPr>
          <p:cNvPr id="18" name="Content Placeholder 8"/>
          <p:cNvSpPr>
            <a:spLocks noGrp="1"/>
          </p:cNvSpPr>
          <p:nvPr>
            <p:ph sz="quarter" idx="14"/>
          </p:nvPr>
        </p:nvSpPr>
        <p:spPr>
          <a:xfrm>
            <a:off x="3313121" y="1143000"/>
            <a:ext cx="2517775" cy="3310048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9" name="LogoLight"/>
          <p:cNvGrpSpPr>
            <a:grpSpLocks noChangeAspect="1"/>
          </p:cNvGrpSpPr>
          <p:nvPr/>
        </p:nvGrpSpPr>
        <p:grpSpPr bwMode="auto">
          <a:xfrm>
            <a:off x="7788131" y="4662926"/>
            <a:ext cx="1097280" cy="313476"/>
            <a:chOff x="444" y="928"/>
            <a:chExt cx="4869" cy="1391"/>
          </a:xfrm>
          <a:solidFill>
            <a:schemeClr val="tx1"/>
          </a:solidFill>
        </p:grpSpPr>
        <p:sp>
          <p:nvSpPr>
            <p:cNvPr id="21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2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3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4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5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6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1577C7-C20B-4E75-8C29-94D46379FC8C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7447750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&amp; Picture -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4755080" y="1143001"/>
            <a:ext cx="3922713" cy="2878647"/>
          </a:xfrm>
          <a:prstGeom prst="roundRect">
            <a:avLst>
              <a:gd name="adj" fmla="val 6325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68313" y="1143001"/>
            <a:ext cx="3922712" cy="3307811"/>
          </a:xfrm>
        </p:spPr>
        <p:txBody>
          <a:bodyPr/>
          <a:lstStyle/>
          <a:p>
            <a:pPr lvl="1"/>
            <a:r>
              <a:rPr lang="en-GB" dirty="0"/>
              <a:t>Level two is the subheading format or introduction text</a:t>
            </a:r>
          </a:p>
          <a:p>
            <a:pPr lvl="5"/>
            <a:r>
              <a:rPr lang="en-GB" dirty="0"/>
              <a:t>Level six is always used for numbered lists</a:t>
            </a:r>
          </a:p>
          <a:p>
            <a:pPr lvl="5"/>
            <a:r>
              <a:rPr lang="en-GB" dirty="0"/>
              <a:t>Level six is always used for numbered list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773169" y="4160520"/>
            <a:ext cx="3921125" cy="21945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grpSp>
        <p:nvGrpSpPr>
          <p:cNvPr id="14" name="LogoDark"/>
          <p:cNvGrpSpPr>
            <a:grpSpLocks noChangeAspect="1"/>
          </p:cNvGrpSpPr>
          <p:nvPr/>
        </p:nvGrpSpPr>
        <p:grpSpPr bwMode="auto">
          <a:xfrm>
            <a:off x="7788131" y="4662926"/>
            <a:ext cx="1097280" cy="313476"/>
            <a:chOff x="444" y="928"/>
            <a:chExt cx="4869" cy="1391"/>
          </a:xfrm>
          <a:solidFill>
            <a:schemeClr val="tx1"/>
          </a:solidFill>
        </p:grpSpPr>
        <p:sp>
          <p:nvSpPr>
            <p:cNvPr id="15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6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7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8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9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0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81577C7-C20B-4E75-8C29-94D46379FC8C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5444790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&amp; Picture - Lines  (whit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1" y="0"/>
            <a:ext cx="913588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4755080" y="1143001"/>
            <a:ext cx="3922713" cy="2878647"/>
          </a:xfrm>
          <a:prstGeom prst="roundRect">
            <a:avLst>
              <a:gd name="adj" fmla="val 6325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68313" y="1143001"/>
            <a:ext cx="3922712" cy="3307811"/>
          </a:xfrm>
        </p:spPr>
        <p:txBody>
          <a:bodyPr/>
          <a:lstStyle/>
          <a:p>
            <a:pPr lvl="1"/>
            <a:r>
              <a:rPr lang="en-GB" dirty="0"/>
              <a:t>Level two is the subheading format or introduction text</a:t>
            </a:r>
          </a:p>
          <a:p>
            <a:pPr lvl="5"/>
            <a:r>
              <a:rPr lang="en-GB" dirty="0"/>
              <a:t>Level six is always used for numbered lists</a:t>
            </a:r>
          </a:p>
          <a:p>
            <a:pPr lvl="5"/>
            <a:r>
              <a:rPr lang="en-GB" dirty="0"/>
              <a:t>Level six is always used for numbered list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773169" y="4160520"/>
            <a:ext cx="3921125" cy="21945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grpSp>
        <p:nvGrpSpPr>
          <p:cNvPr id="17" name="LogoDark"/>
          <p:cNvGrpSpPr>
            <a:grpSpLocks noChangeAspect="1"/>
          </p:cNvGrpSpPr>
          <p:nvPr/>
        </p:nvGrpSpPr>
        <p:grpSpPr bwMode="auto">
          <a:xfrm>
            <a:off x="7788131" y="4662926"/>
            <a:ext cx="1097280" cy="313476"/>
            <a:chOff x="444" y="928"/>
            <a:chExt cx="4869" cy="1391"/>
          </a:xfrm>
          <a:solidFill>
            <a:schemeClr val="tx1"/>
          </a:solidFill>
        </p:grpSpPr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9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1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2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3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81577C7-C20B-4E75-8C29-94D46379FC8C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4932734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7777" y="1223963"/>
            <a:ext cx="8417448" cy="1970087"/>
          </a:xfrm>
        </p:spPr>
        <p:txBody>
          <a:bodyPr anchor="ctr"/>
          <a:lstStyle>
            <a:lvl1pPr algn="ctr">
              <a:lnSpc>
                <a:spcPct val="100000"/>
              </a:lnSpc>
              <a:defRPr sz="4000" b="1" cap="all"/>
            </a:lvl1pPr>
          </a:lstStyle>
          <a:p>
            <a:r>
              <a:rPr lang="en-US" dirty="0"/>
              <a:t>STATEMENT slid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67778" y="519113"/>
            <a:ext cx="8417448" cy="704850"/>
          </a:xfrm>
        </p:spPr>
        <p:txBody>
          <a:bodyPr anchor="t"/>
          <a:lstStyle>
            <a:lvl1pPr marL="0" indent="0">
              <a:buNone/>
              <a:defRPr sz="1200" cap="none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ection or Chapter Title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367777" y="339725"/>
            <a:ext cx="8417448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Group 20"/>
          <p:cNvGrpSpPr>
            <a:grpSpLocks noChangeAspect="1"/>
          </p:cNvGrpSpPr>
          <p:nvPr userDrawn="1"/>
        </p:nvGrpSpPr>
        <p:grpSpPr>
          <a:xfrm>
            <a:off x="7651248" y="4407954"/>
            <a:ext cx="1097216" cy="338034"/>
            <a:chOff x="5043330" y="2582427"/>
            <a:chExt cx="2714033" cy="836158"/>
          </a:xfrm>
        </p:grpSpPr>
        <p:pic>
          <p:nvPicPr>
            <p:cNvPr id="22" name="logo graphic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21205" y="2582427"/>
              <a:ext cx="836158" cy="836158"/>
            </a:xfrm>
            <a:prstGeom prst="rect">
              <a:avLst/>
            </a:prstGeom>
          </p:spPr>
        </p:pic>
        <p:grpSp>
          <p:nvGrpSpPr>
            <p:cNvPr id="23" name="letters"/>
            <p:cNvGrpSpPr/>
            <p:nvPr/>
          </p:nvGrpSpPr>
          <p:grpSpPr>
            <a:xfrm>
              <a:off x="5043330" y="2901718"/>
              <a:ext cx="1777426" cy="197580"/>
              <a:chOff x="566670" y="435864"/>
              <a:chExt cx="1169700" cy="130025"/>
            </a:xfrm>
            <a:solidFill>
              <a:schemeClr val="tx1"/>
            </a:solidFill>
          </p:grpSpPr>
          <p:sp>
            <p:nvSpPr>
              <p:cNvPr id="24" name="Freeform 6"/>
              <p:cNvSpPr>
                <a:spLocks/>
              </p:cNvSpPr>
              <p:nvPr/>
            </p:nvSpPr>
            <p:spPr bwMode="auto">
              <a:xfrm>
                <a:off x="566670" y="437296"/>
                <a:ext cx="146069" cy="127448"/>
              </a:xfrm>
              <a:custGeom>
                <a:avLst/>
                <a:gdLst>
                  <a:gd name="T0" fmla="*/ 216 w 216"/>
                  <a:gd name="T1" fmla="*/ 188 h 188"/>
                  <a:gd name="T2" fmla="*/ 178 w 216"/>
                  <a:gd name="T3" fmla="*/ 188 h 188"/>
                  <a:gd name="T4" fmla="*/ 178 w 216"/>
                  <a:gd name="T5" fmla="*/ 66 h 188"/>
                  <a:gd name="T6" fmla="*/ 113 w 216"/>
                  <a:gd name="T7" fmla="*/ 145 h 188"/>
                  <a:gd name="T8" fmla="*/ 103 w 216"/>
                  <a:gd name="T9" fmla="*/ 145 h 188"/>
                  <a:gd name="T10" fmla="*/ 38 w 216"/>
                  <a:gd name="T11" fmla="*/ 66 h 188"/>
                  <a:gd name="T12" fmla="*/ 38 w 216"/>
                  <a:gd name="T13" fmla="*/ 188 h 188"/>
                  <a:gd name="T14" fmla="*/ 0 w 216"/>
                  <a:gd name="T15" fmla="*/ 188 h 188"/>
                  <a:gd name="T16" fmla="*/ 0 w 216"/>
                  <a:gd name="T17" fmla="*/ 20 h 188"/>
                  <a:gd name="T18" fmla="*/ 20 w 216"/>
                  <a:gd name="T19" fmla="*/ 0 h 188"/>
                  <a:gd name="T20" fmla="*/ 20 w 216"/>
                  <a:gd name="T21" fmla="*/ 0 h 188"/>
                  <a:gd name="T22" fmla="*/ 38 w 216"/>
                  <a:gd name="T23" fmla="*/ 9 h 188"/>
                  <a:gd name="T24" fmla="*/ 108 w 216"/>
                  <a:gd name="T25" fmla="*/ 94 h 188"/>
                  <a:gd name="T26" fmla="*/ 182 w 216"/>
                  <a:gd name="T27" fmla="*/ 6 h 188"/>
                  <a:gd name="T28" fmla="*/ 196 w 216"/>
                  <a:gd name="T29" fmla="*/ 0 h 188"/>
                  <a:gd name="T30" fmla="*/ 196 w 216"/>
                  <a:gd name="T31" fmla="*/ 0 h 188"/>
                  <a:gd name="T32" fmla="*/ 216 w 216"/>
                  <a:gd name="T33" fmla="*/ 19 h 188"/>
                  <a:gd name="T34" fmla="*/ 216 w 216"/>
                  <a:gd name="T35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16" h="188">
                    <a:moveTo>
                      <a:pt x="216" y="188"/>
                    </a:moveTo>
                    <a:cubicBezTo>
                      <a:pt x="178" y="188"/>
                      <a:pt x="178" y="188"/>
                      <a:pt x="178" y="188"/>
                    </a:cubicBezTo>
                    <a:cubicBezTo>
                      <a:pt x="178" y="66"/>
                      <a:pt x="178" y="66"/>
                      <a:pt x="178" y="66"/>
                    </a:cubicBezTo>
                    <a:cubicBezTo>
                      <a:pt x="113" y="145"/>
                      <a:pt x="113" y="145"/>
                      <a:pt x="113" y="145"/>
                    </a:cubicBezTo>
                    <a:cubicBezTo>
                      <a:pt x="110" y="148"/>
                      <a:pt x="106" y="148"/>
                      <a:pt x="103" y="145"/>
                    </a:cubicBezTo>
                    <a:cubicBezTo>
                      <a:pt x="38" y="66"/>
                      <a:pt x="38" y="66"/>
                      <a:pt x="38" y="66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8" y="0"/>
                      <a:pt x="32" y="3"/>
                      <a:pt x="38" y="9"/>
                    </a:cubicBezTo>
                    <a:cubicBezTo>
                      <a:pt x="108" y="94"/>
                      <a:pt x="108" y="94"/>
                      <a:pt x="108" y="94"/>
                    </a:cubicBezTo>
                    <a:cubicBezTo>
                      <a:pt x="182" y="6"/>
                      <a:pt x="182" y="6"/>
                      <a:pt x="182" y="6"/>
                    </a:cubicBezTo>
                    <a:cubicBezTo>
                      <a:pt x="185" y="2"/>
                      <a:pt x="190" y="0"/>
                      <a:pt x="196" y="0"/>
                    </a:cubicBezTo>
                    <a:cubicBezTo>
                      <a:pt x="196" y="0"/>
                      <a:pt x="196" y="0"/>
                      <a:pt x="196" y="0"/>
                    </a:cubicBezTo>
                    <a:cubicBezTo>
                      <a:pt x="207" y="0"/>
                      <a:pt x="216" y="8"/>
                      <a:pt x="216" y="19"/>
                    </a:cubicBezTo>
                    <a:lnTo>
                      <a:pt x="216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25" name="Freeform 7"/>
              <p:cNvSpPr>
                <a:spLocks noEditPoints="1"/>
              </p:cNvSpPr>
              <p:nvPr/>
            </p:nvSpPr>
            <p:spPr bwMode="auto">
              <a:xfrm>
                <a:off x="1350862" y="436723"/>
                <a:ext cx="146069" cy="128020"/>
              </a:xfrm>
              <a:custGeom>
                <a:avLst/>
                <a:gdLst>
                  <a:gd name="T0" fmla="*/ 0 w 216"/>
                  <a:gd name="T1" fmla="*/ 189 h 189"/>
                  <a:gd name="T2" fmla="*/ 42 w 216"/>
                  <a:gd name="T3" fmla="*/ 189 h 189"/>
                  <a:gd name="T4" fmla="*/ 66 w 216"/>
                  <a:gd name="T5" fmla="*/ 138 h 189"/>
                  <a:gd name="T6" fmla="*/ 148 w 216"/>
                  <a:gd name="T7" fmla="*/ 138 h 189"/>
                  <a:gd name="T8" fmla="*/ 174 w 216"/>
                  <a:gd name="T9" fmla="*/ 189 h 189"/>
                  <a:gd name="T10" fmla="*/ 216 w 216"/>
                  <a:gd name="T11" fmla="*/ 189 h 189"/>
                  <a:gd name="T12" fmla="*/ 124 w 216"/>
                  <a:gd name="T13" fmla="*/ 9 h 189"/>
                  <a:gd name="T14" fmla="*/ 106 w 216"/>
                  <a:gd name="T15" fmla="*/ 0 h 189"/>
                  <a:gd name="T16" fmla="*/ 106 w 216"/>
                  <a:gd name="T17" fmla="*/ 0 h 189"/>
                  <a:gd name="T18" fmla="*/ 89 w 216"/>
                  <a:gd name="T19" fmla="*/ 9 h 189"/>
                  <a:gd name="T20" fmla="*/ 0 w 216"/>
                  <a:gd name="T21" fmla="*/ 189 h 189"/>
                  <a:gd name="T22" fmla="*/ 106 w 216"/>
                  <a:gd name="T23" fmla="*/ 55 h 189"/>
                  <a:gd name="T24" fmla="*/ 133 w 216"/>
                  <a:gd name="T25" fmla="*/ 108 h 189"/>
                  <a:gd name="T26" fmla="*/ 81 w 216"/>
                  <a:gd name="T27" fmla="*/ 108 h 189"/>
                  <a:gd name="T28" fmla="*/ 106 w 216"/>
                  <a:gd name="T29" fmla="*/ 55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16" h="189">
                    <a:moveTo>
                      <a:pt x="0" y="189"/>
                    </a:moveTo>
                    <a:cubicBezTo>
                      <a:pt x="42" y="189"/>
                      <a:pt x="42" y="189"/>
                      <a:pt x="42" y="189"/>
                    </a:cubicBezTo>
                    <a:cubicBezTo>
                      <a:pt x="66" y="138"/>
                      <a:pt x="66" y="138"/>
                      <a:pt x="66" y="138"/>
                    </a:cubicBezTo>
                    <a:cubicBezTo>
                      <a:pt x="148" y="138"/>
                      <a:pt x="148" y="138"/>
                      <a:pt x="148" y="138"/>
                    </a:cubicBezTo>
                    <a:cubicBezTo>
                      <a:pt x="174" y="189"/>
                      <a:pt x="174" y="189"/>
                      <a:pt x="174" y="189"/>
                    </a:cubicBezTo>
                    <a:cubicBezTo>
                      <a:pt x="216" y="189"/>
                      <a:pt x="216" y="189"/>
                      <a:pt x="216" y="189"/>
                    </a:cubicBezTo>
                    <a:cubicBezTo>
                      <a:pt x="124" y="9"/>
                      <a:pt x="124" y="9"/>
                      <a:pt x="124" y="9"/>
                    </a:cubicBezTo>
                    <a:cubicBezTo>
                      <a:pt x="120" y="3"/>
                      <a:pt x="114" y="0"/>
                      <a:pt x="106" y="0"/>
                    </a:cubicBezTo>
                    <a:cubicBezTo>
                      <a:pt x="106" y="0"/>
                      <a:pt x="106" y="0"/>
                      <a:pt x="106" y="0"/>
                    </a:cubicBezTo>
                    <a:cubicBezTo>
                      <a:pt x="99" y="0"/>
                      <a:pt x="93" y="3"/>
                      <a:pt x="89" y="9"/>
                    </a:cubicBezTo>
                    <a:lnTo>
                      <a:pt x="0" y="189"/>
                    </a:lnTo>
                    <a:close/>
                    <a:moveTo>
                      <a:pt x="106" y="55"/>
                    </a:moveTo>
                    <a:cubicBezTo>
                      <a:pt x="133" y="108"/>
                      <a:pt x="133" y="108"/>
                      <a:pt x="133" y="108"/>
                    </a:cubicBezTo>
                    <a:cubicBezTo>
                      <a:pt x="81" y="108"/>
                      <a:pt x="81" y="108"/>
                      <a:pt x="81" y="108"/>
                    </a:cubicBezTo>
                    <a:lnTo>
                      <a:pt x="106" y="5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26" name="Freeform 8"/>
              <p:cNvSpPr>
                <a:spLocks/>
              </p:cNvSpPr>
              <p:nvPr/>
            </p:nvSpPr>
            <p:spPr bwMode="auto">
              <a:xfrm>
                <a:off x="789211" y="437296"/>
                <a:ext cx="128598" cy="127448"/>
              </a:xfrm>
              <a:custGeom>
                <a:avLst/>
                <a:gdLst>
                  <a:gd name="T0" fmla="*/ 190 w 190"/>
                  <a:gd name="T1" fmla="*/ 188 h 188"/>
                  <a:gd name="T2" fmla="*/ 163 w 190"/>
                  <a:gd name="T3" fmla="*/ 188 h 188"/>
                  <a:gd name="T4" fmla="*/ 38 w 190"/>
                  <a:gd name="T5" fmla="*/ 62 h 188"/>
                  <a:gd name="T6" fmla="*/ 38 w 190"/>
                  <a:gd name="T7" fmla="*/ 188 h 188"/>
                  <a:gd name="T8" fmla="*/ 0 w 190"/>
                  <a:gd name="T9" fmla="*/ 188 h 188"/>
                  <a:gd name="T10" fmla="*/ 0 w 190"/>
                  <a:gd name="T11" fmla="*/ 20 h 188"/>
                  <a:gd name="T12" fmla="*/ 21 w 190"/>
                  <a:gd name="T13" fmla="*/ 0 h 188"/>
                  <a:gd name="T14" fmla="*/ 21 w 190"/>
                  <a:gd name="T15" fmla="*/ 0 h 188"/>
                  <a:gd name="T16" fmla="*/ 36 w 190"/>
                  <a:gd name="T17" fmla="*/ 6 h 188"/>
                  <a:gd name="T18" fmla="*/ 152 w 190"/>
                  <a:gd name="T19" fmla="*/ 123 h 188"/>
                  <a:gd name="T20" fmla="*/ 152 w 190"/>
                  <a:gd name="T21" fmla="*/ 12 h 188"/>
                  <a:gd name="T22" fmla="*/ 165 w 190"/>
                  <a:gd name="T23" fmla="*/ 0 h 188"/>
                  <a:gd name="T24" fmla="*/ 178 w 190"/>
                  <a:gd name="T25" fmla="*/ 0 h 188"/>
                  <a:gd name="T26" fmla="*/ 190 w 190"/>
                  <a:gd name="T27" fmla="*/ 12 h 188"/>
                  <a:gd name="T28" fmla="*/ 190 w 190"/>
                  <a:gd name="T29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0" h="188">
                    <a:moveTo>
                      <a:pt x="190" y="188"/>
                    </a:moveTo>
                    <a:cubicBezTo>
                      <a:pt x="163" y="188"/>
                      <a:pt x="163" y="188"/>
                      <a:pt x="163" y="188"/>
                    </a:cubicBezTo>
                    <a:cubicBezTo>
                      <a:pt x="38" y="62"/>
                      <a:pt x="38" y="62"/>
                      <a:pt x="38" y="62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1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7" y="0"/>
                      <a:pt x="32" y="2"/>
                      <a:pt x="36" y="6"/>
                    </a:cubicBezTo>
                    <a:cubicBezTo>
                      <a:pt x="152" y="123"/>
                      <a:pt x="152" y="123"/>
                      <a:pt x="152" y="123"/>
                    </a:cubicBezTo>
                    <a:cubicBezTo>
                      <a:pt x="152" y="12"/>
                      <a:pt x="152" y="12"/>
                      <a:pt x="152" y="12"/>
                    </a:cubicBezTo>
                    <a:cubicBezTo>
                      <a:pt x="152" y="5"/>
                      <a:pt x="158" y="0"/>
                      <a:pt x="165" y="0"/>
                    </a:cubicBezTo>
                    <a:cubicBezTo>
                      <a:pt x="178" y="0"/>
                      <a:pt x="178" y="0"/>
                      <a:pt x="178" y="0"/>
                    </a:cubicBezTo>
                    <a:cubicBezTo>
                      <a:pt x="185" y="0"/>
                      <a:pt x="190" y="5"/>
                      <a:pt x="190" y="12"/>
                    </a:cubicBezTo>
                    <a:lnTo>
                      <a:pt x="190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27" name="Freeform 9"/>
              <p:cNvSpPr>
                <a:spLocks noEditPoints="1"/>
              </p:cNvSpPr>
              <p:nvPr/>
            </p:nvSpPr>
            <p:spPr bwMode="auto">
              <a:xfrm>
                <a:off x="943586" y="437296"/>
                <a:ext cx="127739" cy="127448"/>
              </a:xfrm>
              <a:custGeom>
                <a:avLst/>
                <a:gdLst>
                  <a:gd name="T0" fmla="*/ 117 w 189"/>
                  <a:gd name="T1" fmla="*/ 4 h 188"/>
                  <a:gd name="T2" fmla="*/ 72 w 189"/>
                  <a:gd name="T3" fmla="*/ 0 h 188"/>
                  <a:gd name="T4" fmla="*/ 19 w 189"/>
                  <a:gd name="T5" fmla="*/ 0 h 188"/>
                  <a:gd name="T6" fmla="*/ 0 w 189"/>
                  <a:gd name="T7" fmla="*/ 18 h 188"/>
                  <a:gd name="T8" fmla="*/ 0 w 189"/>
                  <a:gd name="T9" fmla="*/ 188 h 188"/>
                  <a:gd name="T10" fmla="*/ 62 w 189"/>
                  <a:gd name="T11" fmla="*/ 188 h 188"/>
                  <a:gd name="T12" fmla="*/ 115 w 189"/>
                  <a:gd name="T13" fmla="*/ 182 h 188"/>
                  <a:gd name="T14" fmla="*/ 189 w 189"/>
                  <a:gd name="T15" fmla="*/ 91 h 188"/>
                  <a:gd name="T16" fmla="*/ 117 w 189"/>
                  <a:gd name="T17" fmla="*/ 4 h 188"/>
                  <a:gd name="T18" fmla="*/ 105 w 189"/>
                  <a:gd name="T19" fmla="*/ 148 h 188"/>
                  <a:gd name="T20" fmla="*/ 62 w 189"/>
                  <a:gd name="T21" fmla="*/ 153 h 188"/>
                  <a:gd name="T22" fmla="*/ 62 w 189"/>
                  <a:gd name="T23" fmla="*/ 153 h 188"/>
                  <a:gd name="T24" fmla="*/ 38 w 189"/>
                  <a:gd name="T25" fmla="*/ 153 h 188"/>
                  <a:gd name="T26" fmla="*/ 38 w 189"/>
                  <a:gd name="T27" fmla="*/ 153 h 188"/>
                  <a:gd name="T28" fmla="*/ 38 w 189"/>
                  <a:gd name="T29" fmla="*/ 34 h 188"/>
                  <a:gd name="T30" fmla="*/ 38 w 189"/>
                  <a:gd name="T31" fmla="*/ 34 h 188"/>
                  <a:gd name="T32" fmla="*/ 68 w 189"/>
                  <a:gd name="T33" fmla="*/ 34 h 188"/>
                  <a:gd name="T34" fmla="*/ 68 w 189"/>
                  <a:gd name="T35" fmla="*/ 34 h 188"/>
                  <a:gd name="T36" fmla="*/ 107 w 189"/>
                  <a:gd name="T37" fmla="*/ 38 h 188"/>
                  <a:gd name="T38" fmla="*/ 150 w 189"/>
                  <a:gd name="T39" fmla="*/ 91 h 188"/>
                  <a:gd name="T40" fmla="*/ 105 w 189"/>
                  <a:gd name="T41" fmla="*/ 14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89" h="188">
                    <a:moveTo>
                      <a:pt x="117" y="4"/>
                    </a:moveTo>
                    <a:cubicBezTo>
                      <a:pt x="104" y="1"/>
                      <a:pt x="89" y="0"/>
                      <a:pt x="72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9" y="0"/>
                      <a:pt x="0" y="8"/>
                      <a:pt x="0" y="1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62" y="188"/>
                      <a:pt x="62" y="188"/>
                      <a:pt x="62" y="188"/>
                    </a:cubicBezTo>
                    <a:cubicBezTo>
                      <a:pt x="84" y="188"/>
                      <a:pt x="100" y="186"/>
                      <a:pt x="115" y="182"/>
                    </a:cubicBezTo>
                    <a:cubicBezTo>
                      <a:pt x="163" y="168"/>
                      <a:pt x="189" y="136"/>
                      <a:pt x="189" y="91"/>
                    </a:cubicBezTo>
                    <a:cubicBezTo>
                      <a:pt x="189" y="46"/>
                      <a:pt x="164" y="15"/>
                      <a:pt x="117" y="4"/>
                    </a:cubicBezTo>
                    <a:close/>
                    <a:moveTo>
                      <a:pt x="105" y="148"/>
                    </a:moveTo>
                    <a:cubicBezTo>
                      <a:pt x="94" y="151"/>
                      <a:pt x="79" y="153"/>
                      <a:pt x="62" y="153"/>
                    </a:cubicBezTo>
                    <a:cubicBezTo>
                      <a:pt x="62" y="153"/>
                      <a:pt x="62" y="153"/>
                      <a:pt x="62" y="153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68" y="34"/>
                      <a:pt x="68" y="34"/>
                      <a:pt x="68" y="34"/>
                    </a:cubicBezTo>
                    <a:cubicBezTo>
                      <a:pt x="68" y="34"/>
                      <a:pt x="68" y="34"/>
                      <a:pt x="68" y="34"/>
                    </a:cubicBezTo>
                    <a:cubicBezTo>
                      <a:pt x="86" y="34"/>
                      <a:pt x="97" y="35"/>
                      <a:pt x="107" y="38"/>
                    </a:cubicBezTo>
                    <a:cubicBezTo>
                      <a:pt x="136" y="46"/>
                      <a:pt x="150" y="63"/>
                      <a:pt x="150" y="91"/>
                    </a:cubicBezTo>
                    <a:cubicBezTo>
                      <a:pt x="150" y="120"/>
                      <a:pt x="135" y="139"/>
                      <a:pt x="105" y="14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28" name="Freeform 10"/>
              <p:cNvSpPr>
                <a:spLocks noEditPoints="1"/>
              </p:cNvSpPr>
              <p:nvPr/>
            </p:nvSpPr>
            <p:spPr bwMode="auto">
              <a:xfrm>
                <a:off x="1513256" y="437296"/>
                <a:ext cx="110841" cy="127448"/>
              </a:xfrm>
              <a:custGeom>
                <a:avLst/>
                <a:gdLst>
                  <a:gd name="T0" fmla="*/ 113 w 164"/>
                  <a:gd name="T1" fmla="*/ 113 h 188"/>
                  <a:gd name="T2" fmla="*/ 158 w 164"/>
                  <a:gd name="T3" fmla="*/ 58 h 188"/>
                  <a:gd name="T4" fmla="*/ 82 w 164"/>
                  <a:gd name="T5" fmla="*/ 0 h 188"/>
                  <a:gd name="T6" fmla="*/ 19 w 164"/>
                  <a:gd name="T7" fmla="*/ 0 h 188"/>
                  <a:gd name="T8" fmla="*/ 0 w 164"/>
                  <a:gd name="T9" fmla="*/ 18 h 188"/>
                  <a:gd name="T10" fmla="*/ 0 w 164"/>
                  <a:gd name="T11" fmla="*/ 188 h 188"/>
                  <a:gd name="T12" fmla="*/ 38 w 164"/>
                  <a:gd name="T13" fmla="*/ 188 h 188"/>
                  <a:gd name="T14" fmla="*/ 38 w 164"/>
                  <a:gd name="T15" fmla="*/ 118 h 188"/>
                  <a:gd name="T16" fmla="*/ 72 w 164"/>
                  <a:gd name="T17" fmla="*/ 118 h 188"/>
                  <a:gd name="T18" fmla="*/ 119 w 164"/>
                  <a:gd name="T19" fmla="*/ 188 h 188"/>
                  <a:gd name="T20" fmla="*/ 164 w 164"/>
                  <a:gd name="T21" fmla="*/ 188 h 188"/>
                  <a:gd name="T22" fmla="*/ 113 w 164"/>
                  <a:gd name="T23" fmla="*/ 113 h 188"/>
                  <a:gd name="T24" fmla="*/ 38 w 164"/>
                  <a:gd name="T25" fmla="*/ 83 h 188"/>
                  <a:gd name="T26" fmla="*/ 38 w 164"/>
                  <a:gd name="T27" fmla="*/ 34 h 188"/>
                  <a:gd name="T28" fmla="*/ 85 w 164"/>
                  <a:gd name="T29" fmla="*/ 34 h 188"/>
                  <a:gd name="T30" fmla="*/ 118 w 164"/>
                  <a:gd name="T31" fmla="*/ 59 h 188"/>
                  <a:gd name="T32" fmla="*/ 77 w 164"/>
                  <a:gd name="T33" fmla="*/ 83 h 188"/>
                  <a:gd name="T34" fmla="*/ 38 w 164"/>
                  <a:gd name="T35" fmla="*/ 83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4" h="188">
                    <a:moveTo>
                      <a:pt x="113" y="113"/>
                    </a:moveTo>
                    <a:cubicBezTo>
                      <a:pt x="142" y="105"/>
                      <a:pt x="158" y="86"/>
                      <a:pt x="158" y="58"/>
                    </a:cubicBezTo>
                    <a:cubicBezTo>
                      <a:pt x="158" y="22"/>
                      <a:pt x="129" y="0"/>
                      <a:pt x="82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8" y="0"/>
                      <a:pt x="0" y="8"/>
                      <a:pt x="0" y="1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38" y="118"/>
                      <a:pt x="38" y="118"/>
                      <a:pt x="38" y="118"/>
                    </a:cubicBezTo>
                    <a:cubicBezTo>
                      <a:pt x="72" y="118"/>
                      <a:pt x="72" y="118"/>
                      <a:pt x="72" y="118"/>
                    </a:cubicBezTo>
                    <a:cubicBezTo>
                      <a:pt x="119" y="188"/>
                      <a:pt x="119" y="188"/>
                      <a:pt x="119" y="188"/>
                    </a:cubicBezTo>
                    <a:cubicBezTo>
                      <a:pt x="164" y="188"/>
                      <a:pt x="164" y="188"/>
                      <a:pt x="164" y="188"/>
                    </a:cubicBezTo>
                    <a:lnTo>
                      <a:pt x="113" y="113"/>
                    </a:lnTo>
                    <a:close/>
                    <a:moveTo>
                      <a:pt x="38" y="83"/>
                    </a:moveTo>
                    <a:cubicBezTo>
                      <a:pt x="38" y="34"/>
                      <a:pt x="38" y="34"/>
                      <a:pt x="38" y="34"/>
                    </a:cubicBezTo>
                    <a:cubicBezTo>
                      <a:pt x="85" y="34"/>
                      <a:pt x="85" y="34"/>
                      <a:pt x="85" y="34"/>
                    </a:cubicBezTo>
                    <a:cubicBezTo>
                      <a:pt x="98" y="34"/>
                      <a:pt x="118" y="38"/>
                      <a:pt x="118" y="59"/>
                    </a:cubicBezTo>
                    <a:cubicBezTo>
                      <a:pt x="118" y="69"/>
                      <a:pt x="114" y="83"/>
                      <a:pt x="77" y="83"/>
                    </a:cubicBezTo>
                    <a:lnTo>
                      <a:pt x="38" y="8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29" name="Freeform 11"/>
              <p:cNvSpPr>
                <a:spLocks/>
              </p:cNvSpPr>
              <p:nvPr/>
            </p:nvSpPr>
            <p:spPr bwMode="auto">
              <a:xfrm>
                <a:off x="738516" y="437296"/>
                <a:ext cx="25777" cy="127448"/>
              </a:xfrm>
              <a:custGeom>
                <a:avLst/>
                <a:gdLst>
                  <a:gd name="T0" fmla="*/ 0 w 38"/>
                  <a:gd name="T1" fmla="*/ 188 h 188"/>
                  <a:gd name="T2" fmla="*/ 38 w 38"/>
                  <a:gd name="T3" fmla="*/ 188 h 188"/>
                  <a:gd name="T4" fmla="*/ 38 w 38"/>
                  <a:gd name="T5" fmla="*/ 12 h 188"/>
                  <a:gd name="T6" fmla="*/ 25 w 38"/>
                  <a:gd name="T7" fmla="*/ 0 h 188"/>
                  <a:gd name="T8" fmla="*/ 13 w 38"/>
                  <a:gd name="T9" fmla="*/ 0 h 188"/>
                  <a:gd name="T10" fmla="*/ 0 w 38"/>
                  <a:gd name="T11" fmla="*/ 12 h 188"/>
                  <a:gd name="T12" fmla="*/ 0 w 38"/>
                  <a:gd name="T13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" h="188">
                    <a:moveTo>
                      <a:pt x="0" y="188"/>
                    </a:moveTo>
                    <a:cubicBezTo>
                      <a:pt x="38" y="188"/>
                      <a:pt x="38" y="188"/>
                      <a:pt x="38" y="188"/>
                    </a:cubicBezTo>
                    <a:cubicBezTo>
                      <a:pt x="38" y="12"/>
                      <a:pt x="38" y="12"/>
                      <a:pt x="38" y="12"/>
                    </a:cubicBezTo>
                    <a:cubicBezTo>
                      <a:pt x="38" y="5"/>
                      <a:pt x="32" y="0"/>
                      <a:pt x="25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0" y="5"/>
                      <a:pt x="0" y="12"/>
                    </a:cubicBezTo>
                    <a:lnTo>
                      <a:pt x="0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0" name="Freeform 12"/>
              <p:cNvSpPr>
                <a:spLocks/>
              </p:cNvSpPr>
              <p:nvPr/>
            </p:nvSpPr>
            <p:spPr bwMode="auto">
              <a:xfrm>
                <a:off x="1217394" y="437296"/>
                <a:ext cx="118001" cy="127448"/>
              </a:xfrm>
              <a:custGeom>
                <a:avLst/>
                <a:gdLst>
                  <a:gd name="T0" fmla="*/ 174 w 174"/>
                  <a:gd name="T1" fmla="*/ 188 h 188"/>
                  <a:gd name="T2" fmla="*/ 137 w 174"/>
                  <a:gd name="T3" fmla="*/ 188 h 188"/>
                  <a:gd name="T4" fmla="*/ 137 w 174"/>
                  <a:gd name="T5" fmla="*/ 110 h 188"/>
                  <a:gd name="T6" fmla="*/ 38 w 174"/>
                  <a:gd name="T7" fmla="*/ 110 h 188"/>
                  <a:gd name="T8" fmla="*/ 38 w 174"/>
                  <a:gd name="T9" fmla="*/ 188 h 188"/>
                  <a:gd name="T10" fmla="*/ 0 w 174"/>
                  <a:gd name="T11" fmla="*/ 188 h 188"/>
                  <a:gd name="T12" fmla="*/ 0 w 174"/>
                  <a:gd name="T13" fmla="*/ 12 h 188"/>
                  <a:gd name="T14" fmla="*/ 13 w 174"/>
                  <a:gd name="T15" fmla="*/ 0 h 188"/>
                  <a:gd name="T16" fmla="*/ 25 w 174"/>
                  <a:gd name="T17" fmla="*/ 0 h 188"/>
                  <a:gd name="T18" fmla="*/ 38 w 174"/>
                  <a:gd name="T19" fmla="*/ 12 h 188"/>
                  <a:gd name="T20" fmla="*/ 38 w 174"/>
                  <a:gd name="T21" fmla="*/ 75 h 188"/>
                  <a:gd name="T22" fmla="*/ 137 w 174"/>
                  <a:gd name="T23" fmla="*/ 75 h 188"/>
                  <a:gd name="T24" fmla="*/ 137 w 174"/>
                  <a:gd name="T25" fmla="*/ 12 h 188"/>
                  <a:gd name="T26" fmla="*/ 149 w 174"/>
                  <a:gd name="T27" fmla="*/ 0 h 188"/>
                  <a:gd name="T28" fmla="*/ 162 w 174"/>
                  <a:gd name="T29" fmla="*/ 0 h 188"/>
                  <a:gd name="T30" fmla="*/ 174 w 174"/>
                  <a:gd name="T31" fmla="*/ 12 h 188"/>
                  <a:gd name="T32" fmla="*/ 174 w 174"/>
                  <a:gd name="T33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4" h="188">
                    <a:moveTo>
                      <a:pt x="174" y="188"/>
                    </a:moveTo>
                    <a:cubicBezTo>
                      <a:pt x="137" y="188"/>
                      <a:pt x="137" y="188"/>
                      <a:pt x="137" y="188"/>
                    </a:cubicBezTo>
                    <a:cubicBezTo>
                      <a:pt x="137" y="110"/>
                      <a:pt x="137" y="110"/>
                      <a:pt x="137" y="110"/>
                    </a:cubicBezTo>
                    <a:cubicBezTo>
                      <a:pt x="38" y="110"/>
                      <a:pt x="38" y="110"/>
                      <a:pt x="38" y="110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6" y="0"/>
                      <a:pt x="13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32" y="0"/>
                      <a:pt x="38" y="5"/>
                      <a:pt x="38" y="12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137" y="75"/>
                      <a:pt x="137" y="75"/>
                      <a:pt x="137" y="75"/>
                    </a:cubicBezTo>
                    <a:cubicBezTo>
                      <a:pt x="137" y="12"/>
                      <a:pt x="137" y="12"/>
                      <a:pt x="137" y="12"/>
                    </a:cubicBezTo>
                    <a:cubicBezTo>
                      <a:pt x="137" y="5"/>
                      <a:pt x="142" y="0"/>
                      <a:pt x="149" y="0"/>
                    </a:cubicBezTo>
                    <a:cubicBezTo>
                      <a:pt x="162" y="0"/>
                      <a:pt x="162" y="0"/>
                      <a:pt x="162" y="0"/>
                    </a:cubicBezTo>
                    <a:cubicBezTo>
                      <a:pt x="169" y="0"/>
                      <a:pt x="174" y="5"/>
                      <a:pt x="174" y="12"/>
                    </a:cubicBezTo>
                    <a:lnTo>
                      <a:pt x="174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1" name="Freeform 13"/>
              <p:cNvSpPr>
                <a:spLocks/>
              </p:cNvSpPr>
              <p:nvPr/>
            </p:nvSpPr>
            <p:spPr bwMode="auto">
              <a:xfrm>
                <a:off x="1085646" y="435864"/>
                <a:ext cx="108836" cy="130025"/>
              </a:xfrm>
              <a:custGeom>
                <a:avLst/>
                <a:gdLst>
                  <a:gd name="T0" fmla="*/ 90 w 161"/>
                  <a:gd name="T1" fmla="*/ 78 h 192"/>
                  <a:gd name="T2" fmla="*/ 46 w 161"/>
                  <a:gd name="T3" fmla="*/ 56 h 192"/>
                  <a:gd name="T4" fmla="*/ 83 w 161"/>
                  <a:gd name="T5" fmla="*/ 36 h 192"/>
                  <a:gd name="T6" fmla="*/ 139 w 161"/>
                  <a:gd name="T7" fmla="*/ 49 h 192"/>
                  <a:gd name="T8" fmla="*/ 140 w 161"/>
                  <a:gd name="T9" fmla="*/ 49 h 192"/>
                  <a:gd name="T10" fmla="*/ 145 w 161"/>
                  <a:gd name="T11" fmla="*/ 47 h 192"/>
                  <a:gd name="T12" fmla="*/ 156 w 161"/>
                  <a:gd name="T13" fmla="*/ 25 h 192"/>
                  <a:gd name="T14" fmla="*/ 156 w 161"/>
                  <a:gd name="T15" fmla="*/ 23 h 192"/>
                  <a:gd name="T16" fmla="*/ 153 w 161"/>
                  <a:gd name="T17" fmla="*/ 18 h 192"/>
                  <a:gd name="T18" fmla="*/ 152 w 161"/>
                  <a:gd name="T19" fmla="*/ 17 h 192"/>
                  <a:gd name="T20" fmla="*/ 81 w 161"/>
                  <a:gd name="T21" fmla="*/ 0 h 192"/>
                  <a:gd name="T22" fmla="*/ 7 w 161"/>
                  <a:gd name="T23" fmla="*/ 57 h 192"/>
                  <a:gd name="T24" fmla="*/ 25 w 161"/>
                  <a:gd name="T25" fmla="*/ 96 h 192"/>
                  <a:gd name="T26" fmla="*/ 80 w 161"/>
                  <a:gd name="T27" fmla="*/ 113 h 192"/>
                  <a:gd name="T28" fmla="*/ 122 w 161"/>
                  <a:gd name="T29" fmla="*/ 133 h 192"/>
                  <a:gd name="T30" fmla="*/ 78 w 161"/>
                  <a:gd name="T31" fmla="*/ 157 h 192"/>
                  <a:gd name="T32" fmla="*/ 22 w 161"/>
                  <a:gd name="T33" fmla="*/ 142 h 192"/>
                  <a:gd name="T34" fmla="*/ 18 w 161"/>
                  <a:gd name="T35" fmla="*/ 139 h 192"/>
                  <a:gd name="T36" fmla="*/ 15 w 161"/>
                  <a:gd name="T37" fmla="*/ 143 h 192"/>
                  <a:gd name="T38" fmla="*/ 2 w 161"/>
                  <a:gd name="T39" fmla="*/ 166 h 192"/>
                  <a:gd name="T40" fmla="*/ 0 w 161"/>
                  <a:gd name="T41" fmla="*/ 170 h 192"/>
                  <a:gd name="T42" fmla="*/ 4 w 161"/>
                  <a:gd name="T43" fmla="*/ 172 h 192"/>
                  <a:gd name="T44" fmla="*/ 77 w 161"/>
                  <a:gd name="T45" fmla="*/ 192 h 192"/>
                  <a:gd name="T46" fmla="*/ 161 w 161"/>
                  <a:gd name="T47" fmla="*/ 132 h 192"/>
                  <a:gd name="T48" fmla="*/ 90 w 161"/>
                  <a:gd name="T49" fmla="*/ 78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61" h="192">
                    <a:moveTo>
                      <a:pt x="90" y="78"/>
                    </a:moveTo>
                    <a:cubicBezTo>
                      <a:pt x="63" y="74"/>
                      <a:pt x="46" y="71"/>
                      <a:pt x="46" y="56"/>
                    </a:cubicBezTo>
                    <a:cubicBezTo>
                      <a:pt x="46" y="43"/>
                      <a:pt x="60" y="36"/>
                      <a:pt x="83" y="36"/>
                    </a:cubicBezTo>
                    <a:cubicBezTo>
                      <a:pt x="109" y="36"/>
                      <a:pt x="130" y="45"/>
                      <a:pt x="139" y="49"/>
                    </a:cubicBezTo>
                    <a:cubicBezTo>
                      <a:pt x="139" y="49"/>
                      <a:pt x="139" y="49"/>
                      <a:pt x="140" y="49"/>
                    </a:cubicBezTo>
                    <a:cubicBezTo>
                      <a:pt x="142" y="49"/>
                      <a:pt x="144" y="49"/>
                      <a:pt x="145" y="47"/>
                    </a:cubicBezTo>
                    <a:cubicBezTo>
                      <a:pt x="156" y="25"/>
                      <a:pt x="156" y="25"/>
                      <a:pt x="156" y="25"/>
                    </a:cubicBezTo>
                    <a:cubicBezTo>
                      <a:pt x="156" y="24"/>
                      <a:pt x="156" y="23"/>
                      <a:pt x="156" y="23"/>
                    </a:cubicBezTo>
                    <a:cubicBezTo>
                      <a:pt x="156" y="21"/>
                      <a:pt x="155" y="19"/>
                      <a:pt x="153" y="18"/>
                    </a:cubicBezTo>
                    <a:cubicBezTo>
                      <a:pt x="152" y="17"/>
                      <a:pt x="152" y="17"/>
                      <a:pt x="152" y="17"/>
                    </a:cubicBezTo>
                    <a:cubicBezTo>
                      <a:pt x="133" y="7"/>
                      <a:pt x="106" y="0"/>
                      <a:pt x="81" y="0"/>
                    </a:cubicBezTo>
                    <a:cubicBezTo>
                      <a:pt x="35" y="0"/>
                      <a:pt x="7" y="22"/>
                      <a:pt x="7" y="57"/>
                    </a:cubicBezTo>
                    <a:cubicBezTo>
                      <a:pt x="7" y="75"/>
                      <a:pt x="13" y="87"/>
                      <a:pt x="25" y="96"/>
                    </a:cubicBezTo>
                    <a:cubicBezTo>
                      <a:pt x="40" y="107"/>
                      <a:pt x="61" y="110"/>
                      <a:pt x="80" y="113"/>
                    </a:cubicBezTo>
                    <a:cubicBezTo>
                      <a:pt x="106" y="117"/>
                      <a:pt x="122" y="119"/>
                      <a:pt x="122" y="133"/>
                    </a:cubicBezTo>
                    <a:cubicBezTo>
                      <a:pt x="122" y="155"/>
                      <a:pt x="91" y="157"/>
                      <a:pt x="78" y="157"/>
                    </a:cubicBezTo>
                    <a:cubicBezTo>
                      <a:pt x="57" y="157"/>
                      <a:pt x="38" y="152"/>
                      <a:pt x="22" y="142"/>
                    </a:cubicBezTo>
                    <a:cubicBezTo>
                      <a:pt x="18" y="139"/>
                      <a:pt x="18" y="139"/>
                      <a:pt x="18" y="139"/>
                    </a:cubicBezTo>
                    <a:cubicBezTo>
                      <a:pt x="15" y="143"/>
                      <a:pt x="15" y="143"/>
                      <a:pt x="15" y="143"/>
                    </a:cubicBezTo>
                    <a:cubicBezTo>
                      <a:pt x="2" y="166"/>
                      <a:pt x="2" y="166"/>
                      <a:pt x="2" y="166"/>
                    </a:cubicBezTo>
                    <a:cubicBezTo>
                      <a:pt x="0" y="170"/>
                      <a:pt x="0" y="170"/>
                      <a:pt x="0" y="170"/>
                    </a:cubicBezTo>
                    <a:cubicBezTo>
                      <a:pt x="4" y="172"/>
                      <a:pt x="4" y="172"/>
                      <a:pt x="4" y="172"/>
                    </a:cubicBezTo>
                    <a:cubicBezTo>
                      <a:pt x="18" y="181"/>
                      <a:pt x="42" y="192"/>
                      <a:pt x="77" y="192"/>
                    </a:cubicBezTo>
                    <a:cubicBezTo>
                      <a:pt x="128" y="192"/>
                      <a:pt x="161" y="169"/>
                      <a:pt x="161" y="132"/>
                    </a:cubicBezTo>
                    <a:cubicBezTo>
                      <a:pt x="161" y="88"/>
                      <a:pt x="122" y="82"/>
                      <a:pt x="90" y="7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2" name="Freeform 14"/>
              <p:cNvSpPr>
                <a:spLocks/>
              </p:cNvSpPr>
              <p:nvPr/>
            </p:nvSpPr>
            <p:spPr bwMode="auto">
              <a:xfrm>
                <a:off x="1642427" y="437296"/>
                <a:ext cx="93943" cy="127448"/>
              </a:xfrm>
              <a:custGeom>
                <a:avLst/>
                <a:gdLst>
                  <a:gd name="T0" fmla="*/ 128 w 139"/>
                  <a:gd name="T1" fmla="*/ 103 h 188"/>
                  <a:gd name="T2" fmla="*/ 121 w 139"/>
                  <a:gd name="T3" fmla="*/ 110 h 188"/>
                  <a:gd name="T4" fmla="*/ 38 w 139"/>
                  <a:gd name="T5" fmla="*/ 110 h 188"/>
                  <a:gd name="T6" fmla="*/ 38 w 139"/>
                  <a:gd name="T7" fmla="*/ 153 h 188"/>
                  <a:gd name="T8" fmla="*/ 139 w 139"/>
                  <a:gd name="T9" fmla="*/ 153 h 188"/>
                  <a:gd name="T10" fmla="*/ 139 w 139"/>
                  <a:gd name="T11" fmla="*/ 188 h 188"/>
                  <a:gd name="T12" fmla="*/ 0 w 139"/>
                  <a:gd name="T13" fmla="*/ 188 h 188"/>
                  <a:gd name="T14" fmla="*/ 0 w 139"/>
                  <a:gd name="T15" fmla="*/ 18 h 188"/>
                  <a:gd name="T16" fmla="*/ 19 w 139"/>
                  <a:gd name="T17" fmla="*/ 0 h 188"/>
                  <a:gd name="T18" fmla="*/ 130 w 139"/>
                  <a:gd name="T19" fmla="*/ 0 h 188"/>
                  <a:gd name="T20" fmla="*/ 137 w 139"/>
                  <a:gd name="T21" fmla="*/ 6 h 188"/>
                  <a:gd name="T22" fmla="*/ 137 w 139"/>
                  <a:gd name="T23" fmla="*/ 27 h 188"/>
                  <a:gd name="T24" fmla="*/ 130 w 139"/>
                  <a:gd name="T25" fmla="*/ 34 h 188"/>
                  <a:gd name="T26" fmla="*/ 38 w 139"/>
                  <a:gd name="T27" fmla="*/ 34 h 188"/>
                  <a:gd name="T28" fmla="*/ 38 w 139"/>
                  <a:gd name="T29" fmla="*/ 75 h 188"/>
                  <a:gd name="T30" fmla="*/ 121 w 139"/>
                  <a:gd name="T31" fmla="*/ 75 h 188"/>
                  <a:gd name="T32" fmla="*/ 128 w 139"/>
                  <a:gd name="T33" fmla="*/ 82 h 188"/>
                  <a:gd name="T34" fmla="*/ 128 w 139"/>
                  <a:gd name="T35" fmla="*/ 103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9" h="188">
                    <a:moveTo>
                      <a:pt x="128" y="103"/>
                    </a:moveTo>
                    <a:cubicBezTo>
                      <a:pt x="128" y="107"/>
                      <a:pt x="124" y="110"/>
                      <a:pt x="121" y="110"/>
                    </a:cubicBezTo>
                    <a:cubicBezTo>
                      <a:pt x="38" y="110"/>
                      <a:pt x="38" y="110"/>
                      <a:pt x="38" y="110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139" y="153"/>
                      <a:pt x="139" y="153"/>
                      <a:pt x="139" y="153"/>
                    </a:cubicBezTo>
                    <a:cubicBezTo>
                      <a:pt x="139" y="188"/>
                      <a:pt x="139" y="188"/>
                      <a:pt x="139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9" y="0"/>
                      <a:pt x="19" y="0"/>
                    </a:cubicBezTo>
                    <a:cubicBezTo>
                      <a:pt x="130" y="0"/>
                      <a:pt x="130" y="0"/>
                      <a:pt x="130" y="0"/>
                    </a:cubicBezTo>
                    <a:cubicBezTo>
                      <a:pt x="134" y="0"/>
                      <a:pt x="137" y="2"/>
                      <a:pt x="137" y="6"/>
                    </a:cubicBezTo>
                    <a:cubicBezTo>
                      <a:pt x="137" y="27"/>
                      <a:pt x="137" y="27"/>
                      <a:pt x="137" y="27"/>
                    </a:cubicBezTo>
                    <a:cubicBezTo>
                      <a:pt x="137" y="32"/>
                      <a:pt x="134" y="34"/>
                      <a:pt x="130" y="34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121" y="75"/>
                      <a:pt x="121" y="75"/>
                      <a:pt x="121" y="75"/>
                    </a:cubicBezTo>
                    <a:cubicBezTo>
                      <a:pt x="124" y="75"/>
                      <a:pt x="128" y="77"/>
                      <a:pt x="128" y="82"/>
                    </a:cubicBezTo>
                    <a:lnTo>
                      <a:pt x="128" y="10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849656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&amp; Picture -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4755080" y="1143001"/>
            <a:ext cx="3922713" cy="2878647"/>
          </a:xfrm>
          <a:prstGeom prst="roundRect">
            <a:avLst>
              <a:gd name="adj" fmla="val 6325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68313" y="1143001"/>
            <a:ext cx="3922712" cy="3307811"/>
          </a:xfrm>
        </p:spPr>
        <p:txBody>
          <a:bodyPr/>
          <a:lstStyle/>
          <a:p>
            <a:pPr lvl="1"/>
            <a:r>
              <a:rPr lang="en-GB" dirty="0"/>
              <a:t>Level two is the subheading format or introduction text</a:t>
            </a:r>
          </a:p>
          <a:p>
            <a:pPr lvl="5"/>
            <a:r>
              <a:rPr lang="en-GB" dirty="0"/>
              <a:t>Level six is always used for numbered lists</a:t>
            </a:r>
          </a:p>
          <a:p>
            <a:pPr lvl="5"/>
            <a:r>
              <a:rPr lang="en-GB" dirty="0"/>
              <a:t>Level six is always used for numbered lists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773169" y="4160520"/>
            <a:ext cx="3921125" cy="21945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000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grpSp>
        <p:nvGrpSpPr>
          <p:cNvPr id="15" name="LogoLight"/>
          <p:cNvGrpSpPr>
            <a:grpSpLocks noChangeAspect="1"/>
          </p:cNvGrpSpPr>
          <p:nvPr/>
        </p:nvGrpSpPr>
        <p:grpSpPr bwMode="auto">
          <a:xfrm>
            <a:off x="7788131" y="4662926"/>
            <a:ext cx="1097280" cy="313476"/>
            <a:chOff x="444" y="928"/>
            <a:chExt cx="4869" cy="1391"/>
          </a:xfrm>
          <a:solidFill>
            <a:schemeClr val="tx1"/>
          </a:solidFill>
        </p:grpSpPr>
        <p:sp>
          <p:nvSpPr>
            <p:cNvPr id="16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7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8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9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0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1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81577C7-C20B-4E75-8C29-94D46379FC8C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102636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&amp; Picture - Lines (blu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4755080" y="1143001"/>
            <a:ext cx="3922713" cy="2878647"/>
          </a:xfrm>
          <a:prstGeom prst="roundRect">
            <a:avLst>
              <a:gd name="adj" fmla="val 6325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468313" y="1143001"/>
            <a:ext cx="3922712" cy="3307811"/>
          </a:xfrm>
        </p:spPr>
        <p:txBody>
          <a:bodyPr/>
          <a:lstStyle/>
          <a:p>
            <a:pPr lvl="1"/>
            <a:r>
              <a:rPr lang="en-GB" dirty="0"/>
              <a:t>Level two is the subheading format or introduction text</a:t>
            </a:r>
          </a:p>
          <a:p>
            <a:pPr lvl="5"/>
            <a:r>
              <a:rPr lang="en-GB" dirty="0"/>
              <a:t>Level six is always used for numbered lists</a:t>
            </a:r>
          </a:p>
          <a:p>
            <a:pPr lvl="5"/>
            <a:r>
              <a:rPr lang="en-GB" dirty="0"/>
              <a:t>Level six is always used for numbered list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773169" y="4160520"/>
            <a:ext cx="3921125" cy="21945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000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grpSp>
        <p:nvGrpSpPr>
          <p:cNvPr id="17" name="LogoLight"/>
          <p:cNvGrpSpPr>
            <a:grpSpLocks noChangeAspect="1"/>
          </p:cNvGrpSpPr>
          <p:nvPr/>
        </p:nvGrpSpPr>
        <p:grpSpPr bwMode="auto">
          <a:xfrm>
            <a:off x="7788131" y="4662926"/>
            <a:ext cx="1097280" cy="313476"/>
            <a:chOff x="444" y="928"/>
            <a:chExt cx="4869" cy="1391"/>
          </a:xfrm>
          <a:solidFill>
            <a:schemeClr val="tx1"/>
          </a:solidFill>
        </p:grpSpPr>
        <p:sp>
          <p:nvSpPr>
            <p:cNvPr id="18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9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1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2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3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81577C7-C20B-4E75-8C29-94D46379FC8C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6547183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&amp; 2 Pictur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6185082" y="1140933"/>
            <a:ext cx="2514600" cy="2514600"/>
          </a:xfrm>
          <a:prstGeom prst="roundRect">
            <a:avLst>
              <a:gd name="adj" fmla="val 8954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"/>
          <p:cNvSpPr>
            <a:spLocks noGrp="1"/>
          </p:cNvSpPr>
          <p:nvPr>
            <p:ph type="pic" sz="quarter" idx="18"/>
          </p:nvPr>
        </p:nvSpPr>
        <p:spPr>
          <a:xfrm>
            <a:off x="3328839" y="1140933"/>
            <a:ext cx="2514600" cy="2514600"/>
          </a:xfrm>
          <a:prstGeom prst="roundRect">
            <a:avLst>
              <a:gd name="adj" fmla="val 8954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7" hasCustomPrompt="1"/>
          </p:nvPr>
        </p:nvSpPr>
        <p:spPr>
          <a:xfrm>
            <a:off x="468314" y="1140933"/>
            <a:ext cx="2508250" cy="3314700"/>
          </a:xfrm>
        </p:spPr>
        <p:txBody>
          <a:bodyPr/>
          <a:lstStyle/>
          <a:p>
            <a:pPr lvl="1"/>
            <a:r>
              <a:rPr lang="en-GB" dirty="0"/>
              <a:t>Level two is the subheading format or introduction text</a:t>
            </a:r>
          </a:p>
          <a:p>
            <a:pPr lvl="5"/>
            <a:r>
              <a:rPr lang="en-GB" dirty="0"/>
              <a:t>Level six is always used for numbered lists always</a:t>
            </a:r>
          </a:p>
          <a:p>
            <a:pPr lvl="5"/>
            <a:r>
              <a:rPr lang="en-GB" dirty="0"/>
              <a:t>Level six is always used for numbered lists alway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360603" y="3773528"/>
            <a:ext cx="2482838" cy="20304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6223012" y="3779231"/>
            <a:ext cx="2482838" cy="20304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grpSp>
        <p:nvGrpSpPr>
          <p:cNvPr id="16" name="LogoDark"/>
          <p:cNvGrpSpPr>
            <a:grpSpLocks noChangeAspect="1"/>
          </p:cNvGrpSpPr>
          <p:nvPr/>
        </p:nvGrpSpPr>
        <p:grpSpPr bwMode="auto">
          <a:xfrm>
            <a:off x="7788131" y="4662926"/>
            <a:ext cx="1097280" cy="313476"/>
            <a:chOff x="444" y="928"/>
            <a:chExt cx="4869" cy="1391"/>
          </a:xfrm>
          <a:solidFill>
            <a:schemeClr val="tx1"/>
          </a:solidFill>
        </p:grpSpPr>
        <p:sp>
          <p:nvSpPr>
            <p:cNvPr id="17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8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9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1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2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3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81577C7-C20B-4E75-8C29-94D46379FC8C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56410996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&amp; 2 Pictures - Lines 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1" y="0"/>
            <a:ext cx="9135880" cy="5143500"/>
          </a:xfrm>
          <a:prstGeom prst="rect">
            <a:avLst/>
          </a:prstGeom>
        </p:spPr>
      </p:pic>
      <p:sp>
        <p:nvSpPr>
          <p:cNvPr id="20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6185082" y="1140933"/>
            <a:ext cx="2514600" cy="2514600"/>
          </a:xfrm>
          <a:prstGeom prst="roundRect">
            <a:avLst>
              <a:gd name="adj" fmla="val 8954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"/>
          <p:cNvSpPr>
            <a:spLocks noGrp="1"/>
          </p:cNvSpPr>
          <p:nvPr>
            <p:ph type="pic" sz="quarter" idx="18"/>
          </p:nvPr>
        </p:nvSpPr>
        <p:spPr>
          <a:xfrm>
            <a:off x="3328839" y="1140933"/>
            <a:ext cx="2514600" cy="2514600"/>
          </a:xfrm>
          <a:prstGeom prst="roundRect">
            <a:avLst>
              <a:gd name="adj" fmla="val 8954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7" hasCustomPrompt="1"/>
          </p:nvPr>
        </p:nvSpPr>
        <p:spPr>
          <a:xfrm>
            <a:off x="468314" y="1140933"/>
            <a:ext cx="2508250" cy="3314700"/>
          </a:xfrm>
        </p:spPr>
        <p:txBody>
          <a:bodyPr/>
          <a:lstStyle/>
          <a:p>
            <a:pPr lvl="1"/>
            <a:r>
              <a:rPr lang="en-GB" dirty="0"/>
              <a:t>Level two is the subheading format or introduction text</a:t>
            </a:r>
          </a:p>
          <a:p>
            <a:pPr lvl="5"/>
            <a:r>
              <a:rPr lang="en-GB" dirty="0"/>
              <a:t>Level six is always used for numbered lists always</a:t>
            </a:r>
          </a:p>
          <a:p>
            <a:pPr lvl="5"/>
            <a:r>
              <a:rPr lang="en-GB" dirty="0"/>
              <a:t>Level six is always used for numbered lists alway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360603" y="3773528"/>
            <a:ext cx="2482838" cy="20304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6223012" y="3779231"/>
            <a:ext cx="2482838" cy="20304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0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grpSp>
        <p:nvGrpSpPr>
          <p:cNvPr id="18" name="LogoDark"/>
          <p:cNvGrpSpPr>
            <a:grpSpLocks noChangeAspect="1"/>
          </p:cNvGrpSpPr>
          <p:nvPr/>
        </p:nvGrpSpPr>
        <p:grpSpPr bwMode="auto">
          <a:xfrm>
            <a:off x="7788131" y="4662926"/>
            <a:ext cx="1097280" cy="313476"/>
            <a:chOff x="444" y="928"/>
            <a:chExt cx="4869" cy="1391"/>
          </a:xfrm>
          <a:solidFill>
            <a:schemeClr val="tx1"/>
          </a:solidFill>
        </p:grpSpPr>
        <p:sp>
          <p:nvSpPr>
            <p:cNvPr id="19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1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2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3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4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5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81577C7-C20B-4E75-8C29-94D46379FC8C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92698757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&amp; 2 Pictures -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6185082" y="1140933"/>
            <a:ext cx="2514600" cy="2514600"/>
          </a:xfrm>
          <a:prstGeom prst="roundRect">
            <a:avLst>
              <a:gd name="adj" fmla="val 8954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"/>
          <p:cNvSpPr>
            <a:spLocks noGrp="1"/>
          </p:cNvSpPr>
          <p:nvPr>
            <p:ph type="pic" sz="quarter" idx="18"/>
          </p:nvPr>
        </p:nvSpPr>
        <p:spPr>
          <a:xfrm>
            <a:off x="3328839" y="1140933"/>
            <a:ext cx="2514600" cy="2514600"/>
          </a:xfrm>
          <a:prstGeom prst="roundRect">
            <a:avLst>
              <a:gd name="adj" fmla="val 8954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7" hasCustomPrompt="1"/>
          </p:nvPr>
        </p:nvSpPr>
        <p:spPr>
          <a:xfrm>
            <a:off x="468314" y="1140933"/>
            <a:ext cx="2508250" cy="3314700"/>
          </a:xfrm>
        </p:spPr>
        <p:txBody>
          <a:bodyPr/>
          <a:lstStyle/>
          <a:p>
            <a:pPr lvl="1"/>
            <a:r>
              <a:rPr lang="en-GB" dirty="0"/>
              <a:t>Level two is the subheading format or introduction text</a:t>
            </a:r>
          </a:p>
          <a:p>
            <a:pPr lvl="5"/>
            <a:r>
              <a:rPr lang="en-GB" dirty="0"/>
              <a:t>Level six is always used for numbered lists always</a:t>
            </a:r>
          </a:p>
          <a:p>
            <a:pPr lvl="5"/>
            <a:r>
              <a:rPr lang="en-GB" dirty="0"/>
              <a:t>Level six is always used for numbered lists alway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360603" y="3773528"/>
            <a:ext cx="2482838" cy="20304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000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6223012" y="3779231"/>
            <a:ext cx="2482838" cy="20304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000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grpSp>
        <p:nvGrpSpPr>
          <p:cNvPr id="19" name="LogoLight"/>
          <p:cNvGrpSpPr>
            <a:grpSpLocks noChangeAspect="1"/>
          </p:cNvGrpSpPr>
          <p:nvPr/>
        </p:nvGrpSpPr>
        <p:grpSpPr bwMode="auto">
          <a:xfrm>
            <a:off x="7788131" y="4662926"/>
            <a:ext cx="1097280" cy="313476"/>
            <a:chOff x="444" y="928"/>
            <a:chExt cx="4869" cy="1391"/>
          </a:xfrm>
          <a:solidFill>
            <a:schemeClr val="tx1"/>
          </a:solidFill>
        </p:grpSpPr>
        <p:sp>
          <p:nvSpPr>
            <p:cNvPr id="21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2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3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4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5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6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81577C7-C20B-4E75-8C29-94D46379FC8C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5043532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&amp; 2 Pictures - Lines (blu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0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6185082" y="1140933"/>
            <a:ext cx="2514600" cy="2514600"/>
          </a:xfrm>
          <a:prstGeom prst="roundRect">
            <a:avLst>
              <a:gd name="adj" fmla="val 8954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"/>
          <p:cNvSpPr>
            <a:spLocks noGrp="1"/>
          </p:cNvSpPr>
          <p:nvPr>
            <p:ph type="pic" sz="quarter" idx="18"/>
          </p:nvPr>
        </p:nvSpPr>
        <p:spPr>
          <a:xfrm>
            <a:off x="3328839" y="1140933"/>
            <a:ext cx="2514600" cy="2514600"/>
          </a:xfrm>
          <a:prstGeom prst="roundRect">
            <a:avLst>
              <a:gd name="adj" fmla="val 8954"/>
            </a:avLst>
          </a:prstGeom>
          <a:ln>
            <a:noFill/>
          </a:ln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Text Placeholder"/>
          <p:cNvSpPr>
            <a:spLocks noGrp="1"/>
          </p:cNvSpPr>
          <p:nvPr>
            <p:ph type="body" sz="quarter" idx="17" hasCustomPrompt="1"/>
          </p:nvPr>
        </p:nvSpPr>
        <p:spPr>
          <a:xfrm>
            <a:off x="468314" y="1140933"/>
            <a:ext cx="2508250" cy="3314700"/>
          </a:xfrm>
        </p:spPr>
        <p:txBody>
          <a:bodyPr/>
          <a:lstStyle/>
          <a:p>
            <a:pPr lvl="1"/>
            <a:r>
              <a:rPr lang="en-GB" dirty="0"/>
              <a:t>Level two is the subheading format or introduction text</a:t>
            </a:r>
          </a:p>
          <a:p>
            <a:pPr lvl="5"/>
            <a:r>
              <a:rPr lang="en-GB" dirty="0"/>
              <a:t>Level six is always used for numbered lists always</a:t>
            </a:r>
          </a:p>
          <a:p>
            <a:pPr lvl="5"/>
            <a:r>
              <a:rPr lang="en-GB" dirty="0"/>
              <a:t>Level six is always used for numbered lists alway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360603" y="3773528"/>
            <a:ext cx="2482838" cy="20304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000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6223012" y="3779231"/>
            <a:ext cx="2482838" cy="20304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000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add caption</a:t>
            </a:r>
          </a:p>
        </p:txBody>
      </p:sp>
      <p:grpSp>
        <p:nvGrpSpPr>
          <p:cNvPr id="19" name="LogoLight"/>
          <p:cNvGrpSpPr>
            <a:grpSpLocks noChangeAspect="1"/>
          </p:cNvGrpSpPr>
          <p:nvPr/>
        </p:nvGrpSpPr>
        <p:grpSpPr bwMode="auto">
          <a:xfrm>
            <a:off x="7788131" y="4662926"/>
            <a:ext cx="1097280" cy="313476"/>
            <a:chOff x="444" y="928"/>
            <a:chExt cx="4869" cy="1391"/>
          </a:xfrm>
          <a:solidFill>
            <a:schemeClr val="tx1"/>
          </a:solidFill>
        </p:grpSpPr>
        <p:sp>
          <p:nvSpPr>
            <p:cNvPr id="22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3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4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5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6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7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81577C7-C20B-4E75-8C29-94D46379FC8C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8515673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alf Picture (whit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922491" y="1420687"/>
            <a:ext cx="3886200" cy="456552"/>
          </a:xfrm>
        </p:spPr>
        <p:txBody>
          <a:bodyPr anchor="ctr"/>
          <a:lstStyle>
            <a:lvl1pPr marL="474651" indent="-474651">
              <a:lnSpc>
                <a:spcPct val="90000"/>
              </a:lnSpc>
              <a:defRPr sz="24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4575175" cy="5148072"/>
          </a:xfr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or click icon to add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4922491" y="1933576"/>
            <a:ext cx="3886200" cy="220186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9" name="LogoDark"/>
          <p:cNvGrpSpPr>
            <a:grpSpLocks noChangeAspect="1"/>
          </p:cNvGrpSpPr>
          <p:nvPr/>
        </p:nvGrpSpPr>
        <p:grpSpPr bwMode="auto">
          <a:xfrm>
            <a:off x="7788131" y="4662926"/>
            <a:ext cx="1097280" cy="313476"/>
            <a:chOff x="444" y="928"/>
            <a:chExt cx="4869" cy="1391"/>
          </a:xfrm>
          <a:solidFill>
            <a:schemeClr val="tx1"/>
          </a:solidFill>
        </p:grpSpPr>
        <p:sp>
          <p:nvSpPr>
            <p:cNvPr id="10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2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4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6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1577C7-C20B-4E75-8C29-94D46379FC8C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7858092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alf Picture (diagonals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922491" y="1420687"/>
            <a:ext cx="3886200" cy="456552"/>
          </a:xfrm>
        </p:spPr>
        <p:txBody>
          <a:bodyPr anchor="ctr"/>
          <a:lstStyle>
            <a:lvl1pPr marL="474651" indent="-474651">
              <a:lnSpc>
                <a:spcPct val="90000"/>
              </a:lnSpc>
              <a:defRPr sz="2400" b="1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4575175" cy="5148072"/>
          </a:xfrm>
        </p:spPr>
        <p:txBody>
          <a:bodyPr lIns="64008" tIns="64008"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or click icon to add</a:t>
            </a:r>
            <a:r>
              <a:rPr lang="en-GB"/>
              <a:t> and Send to Back</a:t>
            </a:r>
            <a:r>
              <a:rPr lang="en-US"/>
              <a:t>. To switch color on overlay on left,</a:t>
            </a:r>
            <a:r>
              <a:rPr lang="en-US" baseline="0"/>
              <a:t> select it and use the </a:t>
            </a:r>
            <a:r>
              <a:rPr lang="en-US" b="1" baseline="0"/>
              <a:t>Shape Fill </a:t>
            </a:r>
            <a:r>
              <a:rPr lang="en-US" baseline="0"/>
              <a:t>button on Home tab.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4922491" y="1933576"/>
            <a:ext cx="3886200" cy="220186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0"/>
            <a:ext cx="2404872" cy="5143500"/>
          </a:xfrm>
          <a:prstGeom prst="rtTriangle">
            <a:avLst/>
          </a:prstGeom>
          <a:solidFill>
            <a:schemeClr val="accent6">
              <a:alpha val="71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  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6" hasCustomPrompt="1"/>
          </p:nvPr>
        </p:nvSpPr>
        <p:spPr>
          <a:xfrm flipH="1" flipV="1">
            <a:off x="2176377" y="0"/>
            <a:ext cx="2404872" cy="5143500"/>
          </a:xfrm>
          <a:prstGeom prst="rtTriangle">
            <a:avLst/>
          </a:prstGeom>
          <a:solidFill>
            <a:schemeClr val="accent6">
              <a:alpha val="71000"/>
            </a:schemeClr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 </a:t>
            </a:r>
          </a:p>
        </p:txBody>
      </p:sp>
      <p:grpSp>
        <p:nvGrpSpPr>
          <p:cNvPr id="10" name="LogoDark"/>
          <p:cNvGrpSpPr>
            <a:grpSpLocks noChangeAspect="1"/>
          </p:cNvGrpSpPr>
          <p:nvPr/>
        </p:nvGrpSpPr>
        <p:grpSpPr bwMode="auto">
          <a:xfrm>
            <a:off x="7788131" y="4662926"/>
            <a:ext cx="1097280" cy="313476"/>
            <a:chOff x="444" y="928"/>
            <a:chExt cx="4869" cy="1391"/>
          </a:xfrm>
          <a:solidFill>
            <a:schemeClr val="tx1"/>
          </a:solidFill>
        </p:grpSpPr>
        <p:sp>
          <p:nvSpPr>
            <p:cNvPr id="12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3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4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5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6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7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9" name="Slide Number Placeholder 8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81577C7-C20B-4E75-8C29-94D46379FC8C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1142056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&amp; Full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81577C7-C20B-4E75-8C29-94D46379FC8C}" type="slidenum">
              <a:rPr lang="en-IE" smtClean="0"/>
              <a:t>‹#›</a:t>
            </a:fld>
            <a:endParaRPr lang="en-IE"/>
          </a:p>
        </p:txBody>
      </p:sp>
      <p:sp>
        <p:nvSpPr>
          <p:cNvPr id="12" name="Overlay"/>
          <p:cNvSpPr>
            <a:spLocks noGrp="1"/>
          </p:cNvSpPr>
          <p:nvPr>
            <p:ph type="body" sz="quarter" idx="14" hasCustomPrompt="1"/>
          </p:nvPr>
        </p:nvSpPr>
        <p:spPr>
          <a:xfrm>
            <a:off x="1" y="1"/>
            <a:ext cx="4568825" cy="5154613"/>
          </a:xfrm>
          <a:solidFill>
            <a:schemeClr val="accent4">
              <a:alpha val="74902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506" dirty="0">
                <a:solidFill>
                  <a:schemeClr val="lt1"/>
                </a:solidFill>
              </a:defRPr>
            </a:lvl1pPr>
          </a:lstStyle>
          <a:p>
            <a:pPr lvl="0" algn="ctr" defTabSz="685783"/>
            <a:r>
              <a:rPr lang="en-US" dirty="0"/>
              <a:t>   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</p:spPr>
        <p:txBody>
          <a:bodyPr lIns="64008" tIns="64008" bIns="64008" anchor="b" anchorCtr="0"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Drag picture to placeholder or click icon to add</a:t>
            </a:r>
            <a:r>
              <a:rPr lang="en-GB"/>
              <a:t> and Send to Back</a:t>
            </a:r>
            <a:r>
              <a:rPr lang="en-US"/>
              <a:t>. </a:t>
            </a:r>
            <a:br>
              <a:rPr lang="en-US"/>
            </a:br>
            <a:r>
              <a:rPr lang="en-US"/>
              <a:t>To switch color on overlay on left,</a:t>
            </a:r>
            <a:r>
              <a:rPr lang="en-US" baseline="0"/>
              <a:t> select it and use the </a:t>
            </a:r>
            <a:r>
              <a:rPr lang="en-US" b="1" baseline="0"/>
              <a:t>Shape Fill </a:t>
            </a:r>
            <a:br>
              <a:rPr lang="en-US" b="1" baseline="0"/>
            </a:br>
            <a:r>
              <a:rPr lang="en-US" baseline="0"/>
              <a:t>button on Home tab. </a:t>
            </a:r>
            <a:r>
              <a:rPr lang="en-US"/>
              <a:t>To switch color on overlay on left,  select it </a:t>
            </a:r>
            <a:br>
              <a:rPr lang="en-US"/>
            </a:br>
            <a:r>
              <a:rPr lang="en-US"/>
              <a:t>and use the Shape Fill button on Home tab. To add logo or switch </a:t>
            </a:r>
            <a:br>
              <a:rPr lang="en-US"/>
            </a:br>
            <a:r>
              <a:rPr lang="en-US"/>
              <a:t>logo color, use the Add Logo button on Home tab.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90525" y="1450016"/>
            <a:ext cx="3886200" cy="32385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>
              <a:spcAft>
                <a:spcPts val="1125"/>
              </a:spcAft>
              <a:defRPr/>
            </a:pPr>
            <a:r>
              <a:rPr lang="en-US">
                <a:solidFill>
                  <a:schemeClr val="bg1"/>
                </a:solidFill>
              </a:rPr>
              <a:t>Edit Master text styl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390633" y="723338"/>
            <a:ext cx="3886200" cy="705825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GB" dirty="0">
                <a:solidFill>
                  <a:schemeClr val="bg1"/>
                </a:solidFill>
              </a:defRPr>
            </a:lvl1pPr>
          </a:lstStyle>
          <a:p>
            <a:pPr marL="0" lvl="0" indent="0">
              <a:lnSpc>
                <a:spcPct val="90000"/>
              </a:lnSpc>
            </a:pPr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60243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0" name="Picture Placeholder 19"/>
          <p:cNvSpPr>
            <a:spLocks noGrp="1"/>
          </p:cNvSpPr>
          <p:nvPr>
            <p:ph type="pic" sz="quarter" idx="16"/>
          </p:nvPr>
        </p:nvSpPr>
        <p:spPr>
          <a:xfrm>
            <a:off x="604099" y="1124712"/>
            <a:ext cx="1563624" cy="1563624"/>
          </a:xfrm>
          <a:prstGeom prst="ellipse">
            <a:avLst/>
          </a:prstGeom>
          <a:ln w="114300">
            <a:solidFill>
              <a:schemeClr val="accent6"/>
            </a:solidFill>
          </a:ln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Picture Placeholder 19"/>
          <p:cNvSpPr>
            <a:spLocks noGrp="1"/>
          </p:cNvSpPr>
          <p:nvPr>
            <p:ph type="pic" sz="quarter" idx="17"/>
          </p:nvPr>
        </p:nvSpPr>
        <p:spPr>
          <a:xfrm>
            <a:off x="2773421" y="1124712"/>
            <a:ext cx="1563624" cy="1563624"/>
          </a:xfrm>
          <a:prstGeom prst="ellipse">
            <a:avLst/>
          </a:prstGeom>
          <a:ln w="114300">
            <a:solidFill>
              <a:schemeClr val="accent6"/>
            </a:solidFill>
          </a:ln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Picture Placeholder 19"/>
          <p:cNvSpPr>
            <a:spLocks noGrp="1"/>
          </p:cNvSpPr>
          <p:nvPr>
            <p:ph type="pic" sz="quarter" idx="18"/>
          </p:nvPr>
        </p:nvSpPr>
        <p:spPr>
          <a:xfrm>
            <a:off x="4942742" y="1124712"/>
            <a:ext cx="1563624" cy="1563624"/>
          </a:xfrm>
          <a:prstGeom prst="ellipse">
            <a:avLst/>
          </a:prstGeom>
          <a:ln w="114300">
            <a:solidFill>
              <a:schemeClr val="accent6"/>
            </a:solidFill>
          </a:ln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3" name="Picture Placeholder 19"/>
          <p:cNvSpPr>
            <a:spLocks noGrp="1"/>
          </p:cNvSpPr>
          <p:nvPr>
            <p:ph type="pic" sz="quarter" idx="19"/>
          </p:nvPr>
        </p:nvSpPr>
        <p:spPr>
          <a:xfrm>
            <a:off x="7112064" y="1124712"/>
            <a:ext cx="1563624" cy="1563624"/>
          </a:xfrm>
          <a:prstGeom prst="ellipse">
            <a:avLst/>
          </a:prstGeom>
          <a:ln w="114300">
            <a:solidFill>
              <a:schemeClr val="accent6"/>
            </a:solidFill>
          </a:ln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467545" y="2921343"/>
            <a:ext cx="1836737" cy="1511300"/>
          </a:xfrm>
        </p:spPr>
        <p:txBody>
          <a:bodyPr/>
          <a:lstStyle>
            <a:lvl1pPr marL="0" marR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1pPr>
            <a:lvl2pPr marL="0" marR="0" indent="0" algn="ctr" defTabSz="91437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2pPr>
          </a:lstStyle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80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 Surname</a:t>
            </a:r>
          </a:p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A26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ob Title</a:t>
            </a:r>
          </a:p>
          <a:p>
            <a:pPr marL="0" marR="0" lvl="1" indent="0" algn="ctr" defTabSz="91437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A275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io details here</a:t>
            </a:r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1" hasCustomPrompt="1"/>
          </p:nvPr>
        </p:nvSpPr>
        <p:spPr>
          <a:xfrm>
            <a:off x="2636866" y="2921343"/>
            <a:ext cx="1836737" cy="1511300"/>
          </a:xfrm>
        </p:spPr>
        <p:txBody>
          <a:bodyPr/>
          <a:lstStyle>
            <a:lvl1pPr marL="0" marR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1pPr>
            <a:lvl2pPr marL="0" marR="0" indent="0" algn="ctr" defTabSz="91437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2pPr>
          </a:lstStyle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80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 Surname</a:t>
            </a:r>
          </a:p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A26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ob Title</a:t>
            </a:r>
          </a:p>
          <a:p>
            <a:pPr marL="0" marR="0" lvl="1" indent="0" algn="ctr" defTabSz="91437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A275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io details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4806187" y="2921343"/>
            <a:ext cx="1836737" cy="1511300"/>
          </a:xfrm>
        </p:spPr>
        <p:txBody>
          <a:bodyPr/>
          <a:lstStyle>
            <a:lvl1pPr marL="0" marR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1pPr>
            <a:lvl2pPr marL="0" marR="0" indent="0" algn="ctr" defTabSz="91437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2pPr>
          </a:lstStyle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80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 Surname</a:t>
            </a:r>
          </a:p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A26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ob Title</a:t>
            </a:r>
          </a:p>
          <a:p>
            <a:pPr marL="0" marR="0" lvl="1" indent="0" algn="ctr" defTabSz="91437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A275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io details here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975508" y="2921343"/>
            <a:ext cx="1836737" cy="1511300"/>
          </a:xfrm>
        </p:spPr>
        <p:txBody>
          <a:bodyPr/>
          <a:lstStyle>
            <a:lvl1pPr marL="0" marR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1pPr>
            <a:lvl2pPr marL="0" marR="0" indent="0" algn="ctr" defTabSz="91437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2pPr>
          </a:lstStyle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80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Name Surname</a:t>
            </a:r>
          </a:p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A26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Job Title</a:t>
            </a:r>
          </a:p>
          <a:p>
            <a:pPr marL="0" marR="0" lvl="1" indent="0" algn="ctr" defTabSz="91437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A2756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io details here</a:t>
            </a:r>
          </a:p>
        </p:txBody>
      </p:sp>
      <p:grpSp>
        <p:nvGrpSpPr>
          <p:cNvPr id="15" name="LogoDark"/>
          <p:cNvGrpSpPr>
            <a:grpSpLocks noChangeAspect="1"/>
          </p:cNvGrpSpPr>
          <p:nvPr/>
        </p:nvGrpSpPr>
        <p:grpSpPr bwMode="auto">
          <a:xfrm>
            <a:off x="7788131" y="4662926"/>
            <a:ext cx="1097280" cy="313476"/>
            <a:chOff x="444" y="928"/>
            <a:chExt cx="4869" cy="1391"/>
          </a:xfrm>
          <a:solidFill>
            <a:schemeClr val="tx1"/>
          </a:solidFill>
        </p:grpSpPr>
        <p:sp>
          <p:nvSpPr>
            <p:cNvPr id="16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7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8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7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8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9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4" name="Slide Number Placeholder 3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781577C7-C20B-4E75-8C29-94D46379FC8C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079541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304638" y="3194050"/>
            <a:ext cx="6543726" cy="885825"/>
          </a:xfrm>
        </p:spPr>
        <p:txBody>
          <a:bodyPr anchor="t"/>
          <a:lstStyle>
            <a:lvl1pPr marL="0" indent="0" algn="ctr">
              <a:buNone/>
              <a:defRPr sz="1400" cap="none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ection or Chapte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68300" y="1412875"/>
            <a:ext cx="8416925" cy="1593850"/>
          </a:xfrm>
        </p:spPr>
        <p:txBody>
          <a:bodyPr anchor="ctr"/>
          <a:lstStyle>
            <a:lvl1pPr algn="ctr">
              <a:lnSpc>
                <a:spcPct val="100000"/>
              </a:lnSpc>
              <a:defRPr sz="4000" baseline="0"/>
            </a:lvl1pPr>
          </a:lstStyle>
          <a:p>
            <a:pPr lvl="0"/>
            <a:r>
              <a:rPr lang="en-GB" dirty="0"/>
              <a:t>Intro slide with sub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35973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5"/>
          <p:cNvSpPr>
            <a:spLocks noGrp="1" noChangeArrowheads="1"/>
          </p:cNvSpPr>
          <p:nvPr>
            <p:ph type="body" idx="1"/>
          </p:nvPr>
        </p:nvSpPr>
        <p:spPr>
          <a:xfrm>
            <a:off x="185737" y="778287"/>
            <a:ext cx="8701943" cy="32949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buClr>
                <a:srgbClr val="A71930"/>
              </a:buClr>
              <a:buFontTx/>
              <a:buBlip>
                <a:blip r:embed="rId2"/>
              </a:buBlip>
              <a:defRPr sz="1350" b="0">
                <a:latin typeface="Calibri" panose="020F0502020204030204" pitchFamily="34" charset="0"/>
                <a:cs typeface="Arial" pitchFamily="34" charset="0"/>
              </a:defRPr>
            </a:lvl1pPr>
            <a:lvl2pPr>
              <a:spcBef>
                <a:spcPts val="0"/>
              </a:spcBef>
              <a:buClr>
                <a:srgbClr val="A71930"/>
              </a:buClr>
              <a:defRPr sz="1350" b="0">
                <a:latin typeface="Calibri" panose="020F0502020204030204" pitchFamily="34" charset="0"/>
              </a:defRPr>
            </a:lvl2pPr>
            <a:lvl3pPr>
              <a:spcBef>
                <a:spcPts val="0"/>
              </a:spcBef>
              <a:buClr>
                <a:srgbClr val="A71930"/>
              </a:buClr>
              <a:defRPr sz="1350" b="0">
                <a:latin typeface="Calibri" panose="020F0502020204030204" pitchFamily="34" charset="0"/>
              </a:defRPr>
            </a:lvl3pPr>
            <a:lvl4pPr>
              <a:spcBef>
                <a:spcPts val="0"/>
              </a:spcBef>
              <a:buClr>
                <a:srgbClr val="A71930"/>
              </a:buClr>
              <a:defRPr sz="1350" b="0">
                <a:latin typeface="Calibri" panose="020F0502020204030204" pitchFamily="34" charset="0"/>
              </a:defRPr>
            </a:lvl4pPr>
            <a:lvl5pPr>
              <a:spcBef>
                <a:spcPts val="0"/>
              </a:spcBef>
              <a:buClr>
                <a:srgbClr val="A71930"/>
              </a:buClr>
              <a:defRPr sz="1350" b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Rectangle 4"/>
          <p:cNvSpPr>
            <a:spLocks noGrp="1" noChangeArrowheads="1"/>
          </p:cNvSpPr>
          <p:nvPr>
            <p:ph type="title"/>
          </p:nvPr>
        </p:nvSpPr>
        <p:spPr>
          <a:xfrm>
            <a:off x="1" y="1"/>
            <a:ext cx="7416800" cy="716056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l">
              <a:lnSpc>
                <a:spcPts val="1875"/>
              </a:lnSpc>
              <a:defRPr sz="2100" b="1" baseline="0">
                <a:solidFill>
                  <a:schemeClr val="tx2"/>
                </a:solidFill>
                <a:latin typeface="Calibri" panose="020F0502020204030204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 Placeholder 4"/>
          <p:cNvSpPr txBox="1">
            <a:spLocks/>
          </p:cNvSpPr>
          <p:nvPr userDrawn="1"/>
        </p:nvSpPr>
        <p:spPr bwMode="auto">
          <a:xfrm>
            <a:off x="8842315" y="4947294"/>
            <a:ext cx="301686" cy="207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r">
              <a:defRPr/>
            </a:pPr>
            <a:fld id="{6A1AA2C5-B4DB-426C-B3E5-890CC5D98970}" type="slidenum">
              <a:rPr lang="en-US" sz="750" b="0">
                <a:solidFill>
                  <a:schemeClr val="tx1"/>
                </a:solidFill>
                <a:cs typeface="Arial" charset="0"/>
              </a:rPr>
              <a:pPr algn="r">
                <a:defRPr/>
              </a:pPr>
              <a:t>‹#›</a:t>
            </a:fld>
            <a:endParaRPr lang="en-US" sz="750" b="0">
              <a:solidFill>
                <a:schemeClr val="tx1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641925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4"/>
          <p:cNvSpPr txBox="1">
            <a:spLocks/>
          </p:cNvSpPr>
          <p:nvPr userDrawn="1"/>
        </p:nvSpPr>
        <p:spPr bwMode="auto">
          <a:xfrm>
            <a:off x="8842315" y="4947294"/>
            <a:ext cx="301686" cy="207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r">
              <a:defRPr/>
            </a:pPr>
            <a:fld id="{6A1AA2C5-B4DB-426C-B3E5-890CC5D98970}" type="slidenum">
              <a:rPr lang="en-US" sz="750" b="0">
                <a:solidFill>
                  <a:schemeClr val="tx1"/>
                </a:solidFill>
                <a:cs typeface="Arial" charset="0"/>
              </a:rPr>
              <a:pPr algn="r">
                <a:defRPr/>
              </a:pPr>
              <a:t>‹#›</a:t>
            </a:fld>
            <a:endParaRPr lang="en-US" sz="750" b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17" name="Rectangle 4"/>
          <p:cNvSpPr>
            <a:spLocks noGrp="1" noChangeArrowheads="1"/>
          </p:cNvSpPr>
          <p:nvPr>
            <p:ph type="title"/>
          </p:nvPr>
        </p:nvSpPr>
        <p:spPr>
          <a:xfrm>
            <a:off x="124691" y="56112"/>
            <a:ext cx="7292109" cy="716056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l">
              <a:lnSpc>
                <a:spcPts val="1875"/>
              </a:lnSpc>
              <a:defRPr sz="2400" b="1" baseline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9777575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indshare Cover Slide (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>
            <a:grpSpLocks noChangeAspect="1"/>
          </p:cNvGrpSpPr>
          <p:nvPr userDrawn="1"/>
        </p:nvGrpSpPr>
        <p:grpSpPr>
          <a:xfrm>
            <a:off x="556546" y="1881242"/>
            <a:ext cx="1548000" cy="476913"/>
            <a:chOff x="5043330" y="2582427"/>
            <a:chExt cx="2714033" cy="836158"/>
          </a:xfrm>
        </p:grpSpPr>
        <p:pic>
          <p:nvPicPr>
            <p:cNvPr id="27" name="logo graphic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21205" y="2582427"/>
              <a:ext cx="836158" cy="836158"/>
            </a:xfrm>
            <a:prstGeom prst="rect">
              <a:avLst/>
            </a:prstGeom>
          </p:spPr>
        </p:pic>
        <p:grpSp>
          <p:nvGrpSpPr>
            <p:cNvPr id="28" name="letters"/>
            <p:cNvGrpSpPr/>
            <p:nvPr/>
          </p:nvGrpSpPr>
          <p:grpSpPr>
            <a:xfrm>
              <a:off x="5043330" y="2901718"/>
              <a:ext cx="1777426" cy="197580"/>
              <a:chOff x="566670" y="435864"/>
              <a:chExt cx="1169700" cy="130025"/>
            </a:xfrm>
            <a:solidFill>
              <a:schemeClr val="tx1"/>
            </a:solidFill>
          </p:grpSpPr>
          <p:sp>
            <p:nvSpPr>
              <p:cNvPr id="29" name="Freeform 6"/>
              <p:cNvSpPr>
                <a:spLocks/>
              </p:cNvSpPr>
              <p:nvPr/>
            </p:nvSpPr>
            <p:spPr bwMode="auto">
              <a:xfrm>
                <a:off x="566670" y="437296"/>
                <a:ext cx="146069" cy="127448"/>
              </a:xfrm>
              <a:custGeom>
                <a:avLst/>
                <a:gdLst>
                  <a:gd name="T0" fmla="*/ 216 w 216"/>
                  <a:gd name="T1" fmla="*/ 188 h 188"/>
                  <a:gd name="T2" fmla="*/ 178 w 216"/>
                  <a:gd name="T3" fmla="*/ 188 h 188"/>
                  <a:gd name="T4" fmla="*/ 178 w 216"/>
                  <a:gd name="T5" fmla="*/ 66 h 188"/>
                  <a:gd name="T6" fmla="*/ 113 w 216"/>
                  <a:gd name="T7" fmla="*/ 145 h 188"/>
                  <a:gd name="T8" fmla="*/ 103 w 216"/>
                  <a:gd name="T9" fmla="*/ 145 h 188"/>
                  <a:gd name="T10" fmla="*/ 38 w 216"/>
                  <a:gd name="T11" fmla="*/ 66 h 188"/>
                  <a:gd name="T12" fmla="*/ 38 w 216"/>
                  <a:gd name="T13" fmla="*/ 188 h 188"/>
                  <a:gd name="T14" fmla="*/ 0 w 216"/>
                  <a:gd name="T15" fmla="*/ 188 h 188"/>
                  <a:gd name="T16" fmla="*/ 0 w 216"/>
                  <a:gd name="T17" fmla="*/ 20 h 188"/>
                  <a:gd name="T18" fmla="*/ 20 w 216"/>
                  <a:gd name="T19" fmla="*/ 0 h 188"/>
                  <a:gd name="T20" fmla="*/ 20 w 216"/>
                  <a:gd name="T21" fmla="*/ 0 h 188"/>
                  <a:gd name="T22" fmla="*/ 38 w 216"/>
                  <a:gd name="T23" fmla="*/ 9 h 188"/>
                  <a:gd name="T24" fmla="*/ 108 w 216"/>
                  <a:gd name="T25" fmla="*/ 94 h 188"/>
                  <a:gd name="T26" fmla="*/ 182 w 216"/>
                  <a:gd name="T27" fmla="*/ 6 h 188"/>
                  <a:gd name="T28" fmla="*/ 196 w 216"/>
                  <a:gd name="T29" fmla="*/ 0 h 188"/>
                  <a:gd name="T30" fmla="*/ 196 w 216"/>
                  <a:gd name="T31" fmla="*/ 0 h 188"/>
                  <a:gd name="T32" fmla="*/ 216 w 216"/>
                  <a:gd name="T33" fmla="*/ 19 h 188"/>
                  <a:gd name="T34" fmla="*/ 216 w 216"/>
                  <a:gd name="T35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16" h="188">
                    <a:moveTo>
                      <a:pt x="216" y="188"/>
                    </a:moveTo>
                    <a:cubicBezTo>
                      <a:pt x="178" y="188"/>
                      <a:pt x="178" y="188"/>
                      <a:pt x="178" y="188"/>
                    </a:cubicBezTo>
                    <a:cubicBezTo>
                      <a:pt x="178" y="66"/>
                      <a:pt x="178" y="66"/>
                      <a:pt x="178" y="66"/>
                    </a:cubicBezTo>
                    <a:cubicBezTo>
                      <a:pt x="113" y="145"/>
                      <a:pt x="113" y="145"/>
                      <a:pt x="113" y="145"/>
                    </a:cubicBezTo>
                    <a:cubicBezTo>
                      <a:pt x="110" y="148"/>
                      <a:pt x="106" y="148"/>
                      <a:pt x="103" y="145"/>
                    </a:cubicBezTo>
                    <a:cubicBezTo>
                      <a:pt x="38" y="66"/>
                      <a:pt x="38" y="66"/>
                      <a:pt x="38" y="66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8" y="0"/>
                      <a:pt x="32" y="3"/>
                      <a:pt x="38" y="9"/>
                    </a:cubicBezTo>
                    <a:cubicBezTo>
                      <a:pt x="108" y="94"/>
                      <a:pt x="108" y="94"/>
                      <a:pt x="108" y="94"/>
                    </a:cubicBezTo>
                    <a:cubicBezTo>
                      <a:pt x="182" y="6"/>
                      <a:pt x="182" y="6"/>
                      <a:pt x="182" y="6"/>
                    </a:cubicBezTo>
                    <a:cubicBezTo>
                      <a:pt x="185" y="2"/>
                      <a:pt x="190" y="0"/>
                      <a:pt x="196" y="0"/>
                    </a:cubicBezTo>
                    <a:cubicBezTo>
                      <a:pt x="196" y="0"/>
                      <a:pt x="196" y="0"/>
                      <a:pt x="196" y="0"/>
                    </a:cubicBezTo>
                    <a:cubicBezTo>
                      <a:pt x="207" y="0"/>
                      <a:pt x="216" y="8"/>
                      <a:pt x="216" y="19"/>
                    </a:cubicBezTo>
                    <a:lnTo>
                      <a:pt x="216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0" name="Freeform 7"/>
              <p:cNvSpPr>
                <a:spLocks noEditPoints="1"/>
              </p:cNvSpPr>
              <p:nvPr/>
            </p:nvSpPr>
            <p:spPr bwMode="auto">
              <a:xfrm>
                <a:off x="1350862" y="436723"/>
                <a:ext cx="146069" cy="128020"/>
              </a:xfrm>
              <a:custGeom>
                <a:avLst/>
                <a:gdLst>
                  <a:gd name="T0" fmla="*/ 0 w 216"/>
                  <a:gd name="T1" fmla="*/ 189 h 189"/>
                  <a:gd name="T2" fmla="*/ 42 w 216"/>
                  <a:gd name="T3" fmla="*/ 189 h 189"/>
                  <a:gd name="T4" fmla="*/ 66 w 216"/>
                  <a:gd name="T5" fmla="*/ 138 h 189"/>
                  <a:gd name="T6" fmla="*/ 148 w 216"/>
                  <a:gd name="T7" fmla="*/ 138 h 189"/>
                  <a:gd name="T8" fmla="*/ 174 w 216"/>
                  <a:gd name="T9" fmla="*/ 189 h 189"/>
                  <a:gd name="T10" fmla="*/ 216 w 216"/>
                  <a:gd name="T11" fmla="*/ 189 h 189"/>
                  <a:gd name="T12" fmla="*/ 124 w 216"/>
                  <a:gd name="T13" fmla="*/ 9 h 189"/>
                  <a:gd name="T14" fmla="*/ 106 w 216"/>
                  <a:gd name="T15" fmla="*/ 0 h 189"/>
                  <a:gd name="T16" fmla="*/ 106 w 216"/>
                  <a:gd name="T17" fmla="*/ 0 h 189"/>
                  <a:gd name="T18" fmla="*/ 89 w 216"/>
                  <a:gd name="T19" fmla="*/ 9 h 189"/>
                  <a:gd name="T20" fmla="*/ 0 w 216"/>
                  <a:gd name="T21" fmla="*/ 189 h 189"/>
                  <a:gd name="T22" fmla="*/ 106 w 216"/>
                  <a:gd name="T23" fmla="*/ 55 h 189"/>
                  <a:gd name="T24" fmla="*/ 133 w 216"/>
                  <a:gd name="T25" fmla="*/ 108 h 189"/>
                  <a:gd name="T26" fmla="*/ 81 w 216"/>
                  <a:gd name="T27" fmla="*/ 108 h 189"/>
                  <a:gd name="T28" fmla="*/ 106 w 216"/>
                  <a:gd name="T29" fmla="*/ 55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16" h="189">
                    <a:moveTo>
                      <a:pt x="0" y="189"/>
                    </a:moveTo>
                    <a:cubicBezTo>
                      <a:pt x="42" y="189"/>
                      <a:pt x="42" y="189"/>
                      <a:pt x="42" y="189"/>
                    </a:cubicBezTo>
                    <a:cubicBezTo>
                      <a:pt x="66" y="138"/>
                      <a:pt x="66" y="138"/>
                      <a:pt x="66" y="138"/>
                    </a:cubicBezTo>
                    <a:cubicBezTo>
                      <a:pt x="148" y="138"/>
                      <a:pt x="148" y="138"/>
                      <a:pt x="148" y="138"/>
                    </a:cubicBezTo>
                    <a:cubicBezTo>
                      <a:pt x="174" y="189"/>
                      <a:pt x="174" y="189"/>
                      <a:pt x="174" y="189"/>
                    </a:cubicBezTo>
                    <a:cubicBezTo>
                      <a:pt x="216" y="189"/>
                      <a:pt x="216" y="189"/>
                      <a:pt x="216" y="189"/>
                    </a:cubicBezTo>
                    <a:cubicBezTo>
                      <a:pt x="124" y="9"/>
                      <a:pt x="124" y="9"/>
                      <a:pt x="124" y="9"/>
                    </a:cubicBezTo>
                    <a:cubicBezTo>
                      <a:pt x="120" y="3"/>
                      <a:pt x="114" y="0"/>
                      <a:pt x="106" y="0"/>
                    </a:cubicBezTo>
                    <a:cubicBezTo>
                      <a:pt x="106" y="0"/>
                      <a:pt x="106" y="0"/>
                      <a:pt x="106" y="0"/>
                    </a:cubicBezTo>
                    <a:cubicBezTo>
                      <a:pt x="99" y="0"/>
                      <a:pt x="93" y="3"/>
                      <a:pt x="89" y="9"/>
                    </a:cubicBezTo>
                    <a:lnTo>
                      <a:pt x="0" y="189"/>
                    </a:lnTo>
                    <a:close/>
                    <a:moveTo>
                      <a:pt x="106" y="55"/>
                    </a:moveTo>
                    <a:cubicBezTo>
                      <a:pt x="133" y="108"/>
                      <a:pt x="133" y="108"/>
                      <a:pt x="133" y="108"/>
                    </a:cubicBezTo>
                    <a:cubicBezTo>
                      <a:pt x="81" y="108"/>
                      <a:pt x="81" y="108"/>
                      <a:pt x="81" y="108"/>
                    </a:cubicBezTo>
                    <a:lnTo>
                      <a:pt x="106" y="5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1" name="Freeform 8"/>
              <p:cNvSpPr>
                <a:spLocks/>
              </p:cNvSpPr>
              <p:nvPr/>
            </p:nvSpPr>
            <p:spPr bwMode="auto">
              <a:xfrm>
                <a:off x="789211" y="437296"/>
                <a:ext cx="128598" cy="127448"/>
              </a:xfrm>
              <a:custGeom>
                <a:avLst/>
                <a:gdLst>
                  <a:gd name="T0" fmla="*/ 190 w 190"/>
                  <a:gd name="T1" fmla="*/ 188 h 188"/>
                  <a:gd name="T2" fmla="*/ 163 w 190"/>
                  <a:gd name="T3" fmla="*/ 188 h 188"/>
                  <a:gd name="T4" fmla="*/ 38 w 190"/>
                  <a:gd name="T5" fmla="*/ 62 h 188"/>
                  <a:gd name="T6" fmla="*/ 38 w 190"/>
                  <a:gd name="T7" fmla="*/ 188 h 188"/>
                  <a:gd name="T8" fmla="*/ 0 w 190"/>
                  <a:gd name="T9" fmla="*/ 188 h 188"/>
                  <a:gd name="T10" fmla="*/ 0 w 190"/>
                  <a:gd name="T11" fmla="*/ 20 h 188"/>
                  <a:gd name="T12" fmla="*/ 21 w 190"/>
                  <a:gd name="T13" fmla="*/ 0 h 188"/>
                  <a:gd name="T14" fmla="*/ 21 w 190"/>
                  <a:gd name="T15" fmla="*/ 0 h 188"/>
                  <a:gd name="T16" fmla="*/ 36 w 190"/>
                  <a:gd name="T17" fmla="*/ 6 h 188"/>
                  <a:gd name="T18" fmla="*/ 152 w 190"/>
                  <a:gd name="T19" fmla="*/ 123 h 188"/>
                  <a:gd name="T20" fmla="*/ 152 w 190"/>
                  <a:gd name="T21" fmla="*/ 12 h 188"/>
                  <a:gd name="T22" fmla="*/ 165 w 190"/>
                  <a:gd name="T23" fmla="*/ 0 h 188"/>
                  <a:gd name="T24" fmla="*/ 178 w 190"/>
                  <a:gd name="T25" fmla="*/ 0 h 188"/>
                  <a:gd name="T26" fmla="*/ 190 w 190"/>
                  <a:gd name="T27" fmla="*/ 12 h 188"/>
                  <a:gd name="T28" fmla="*/ 190 w 190"/>
                  <a:gd name="T29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0" h="188">
                    <a:moveTo>
                      <a:pt x="190" y="188"/>
                    </a:moveTo>
                    <a:cubicBezTo>
                      <a:pt x="163" y="188"/>
                      <a:pt x="163" y="188"/>
                      <a:pt x="163" y="188"/>
                    </a:cubicBezTo>
                    <a:cubicBezTo>
                      <a:pt x="38" y="62"/>
                      <a:pt x="38" y="62"/>
                      <a:pt x="38" y="62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1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7" y="0"/>
                      <a:pt x="32" y="2"/>
                      <a:pt x="36" y="6"/>
                    </a:cubicBezTo>
                    <a:cubicBezTo>
                      <a:pt x="152" y="123"/>
                      <a:pt x="152" y="123"/>
                      <a:pt x="152" y="123"/>
                    </a:cubicBezTo>
                    <a:cubicBezTo>
                      <a:pt x="152" y="12"/>
                      <a:pt x="152" y="12"/>
                      <a:pt x="152" y="12"/>
                    </a:cubicBezTo>
                    <a:cubicBezTo>
                      <a:pt x="152" y="5"/>
                      <a:pt x="158" y="0"/>
                      <a:pt x="165" y="0"/>
                    </a:cubicBezTo>
                    <a:cubicBezTo>
                      <a:pt x="178" y="0"/>
                      <a:pt x="178" y="0"/>
                      <a:pt x="178" y="0"/>
                    </a:cubicBezTo>
                    <a:cubicBezTo>
                      <a:pt x="185" y="0"/>
                      <a:pt x="190" y="5"/>
                      <a:pt x="190" y="12"/>
                    </a:cubicBezTo>
                    <a:lnTo>
                      <a:pt x="190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2" name="Freeform 9"/>
              <p:cNvSpPr>
                <a:spLocks noEditPoints="1"/>
              </p:cNvSpPr>
              <p:nvPr/>
            </p:nvSpPr>
            <p:spPr bwMode="auto">
              <a:xfrm>
                <a:off x="943586" y="437296"/>
                <a:ext cx="127739" cy="127448"/>
              </a:xfrm>
              <a:custGeom>
                <a:avLst/>
                <a:gdLst>
                  <a:gd name="T0" fmla="*/ 117 w 189"/>
                  <a:gd name="T1" fmla="*/ 4 h 188"/>
                  <a:gd name="T2" fmla="*/ 72 w 189"/>
                  <a:gd name="T3" fmla="*/ 0 h 188"/>
                  <a:gd name="T4" fmla="*/ 19 w 189"/>
                  <a:gd name="T5" fmla="*/ 0 h 188"/>
                  <a:gd name="T6" fmla="*/ 0 w 189"/>
                  <a:gd name="T7" fmla="*/ 18 h 188"/>
                  <a:gd name="T8" fmla="*/ 0 w 189"/>
                  <a:gd name="T9" fmla="*/ 188 h 188"/>
                  <a:gd name="T10" fmla="*/ 62 w 189"/>
                  <a:gd name="T11" fmla="*/ 188 h 188"/>
                  <a:gd name="T12" fmla="*/ 115 w 189"/>
                  <a:gd name="T13" fmla="*/ 182 h 188"/>
                  <a:gd name="T14" fmla="*/ 189 w 189"/>
                  <a:gd name="T15" fmla="*/ 91 h 188"/>
                  <a:gd name="T16" fmla="*/ 117 w 189"/>
                  <a:gd name="T17" fmla="*/ 4 h 188"/>
                  <a:gd name="T18" fmla="*/ 105 w 189"/>
                  <a:gd name="T19" fmla="*/ 148 h 188"/>
                  <a:gd name="T20" fmla="*/ 62 w 189"/>
                  <a:gd name="T21" fmla="*/ 153 h 188"/>
                  <a:gd name="T22" fmla="*/ 62 w 189"/>
                  <a:gd name="T23" fmla="*/ 153 h 188"/>
                  <a:gd name="T24" fmla="*/ 38 w 189"/>
                  <a:gd name="T25" fmla="*/ 153 h 188"/>
                  <a:gd name="T26" fmla="*/ 38 w 189"/>
                  <a:gd name="T27" fmla="*/ 153 h 188"/>
                  <a:gd name="T28" fmla="*/ 38 w 189"/>
                  <a:gd name="T29" fmla="*/ 34 h 188"/>
                  <a:gd name="T30" fmla="*/ 38 w 189"/>
                  <a:gd name="T31" fmla="*/ 34 h 188"/>
                  <a:gd name="T32" fmla="*/ 68 w 189"/>
                  <a:gd name="T33" fmla="*/ 34 h 188"/>
                  <a:gd name="T34" fmla="*/ 68 w 189"/>
                  <a:gd name="T35" fmla="*/ 34 h 188"/>
                  <a:gd name="T36" fmla="*/ 107 w 189"/>
                  <a:gd name="T37" fmla="*/ 38 h 188"/>
                  <a:gd name="T38" fmla="*/ 150 w 189"/>
                  <a:gd name="T39" fmla="*/ 91 h 188"/>
                  <a:gd name="T40" fmla="*/ 105 w 189"/>
                  <a:gd name="T41" fmla="*/ 14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89" h="188">
                    <a:moveTo>
                      <a:pt x="117" y="4"/>
                    </a:moveTo>
                    <a:cubicBezTo>
                      <a:pt x="104" y="1"/>
                      <a:pt x="89" y="0"/>
                      <a:pt x="72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9" y="0"/>
                      <a:pt x="0" y="8"/>
                      <a:pt x="0" y="1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62" y="188"/>
                      <a:pt x="62" y="188"/>
                      <a:pt x="62" y="188"/>
                    </a:cubicBezTo>
                    <a:cubicBezTo>
                      <a:pt x="84" y="188"/>
                      <a:pt x="100" y="186"/>
                      <a:pt x="115" y="182"/>
                    </a:cubicBezTo>
                    <a:cubicBezTo>
                      <a:pt x="163" y="168"/>
                      <a:pt x="189" y="136"/>
                      <a:pt x="189" y="91"/>
                    </a:cubicBezTo>
                    <a:cubicBezTo>
                      <a:pt x="189" y="46"/>
                      <a:pt x="164" y="15"/>
                      <a:pt x="117" y="4"/>
                    </a:cubicBezTo>
                    <a:close/>
                    <a:moveTo>
                      <a:pt x="105" y="148"/>
                    </a:moveTo>
                    <a:cubicBezTo>
                      <a:pt x="94" y="151"/>
                      <a:pt x="79" y="153"/>
                      <a:pt x="62" y="153"/>
                    </a:cubicBezTo>
                    <a:cubicBezTo>
                      <a:pt x="62" y="153"/>
                      <a:pt x="62" y="153"/>
                      <a:pt x="62" y="153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68" y="34"/>
                      <a:pt x="68" y="34"/>
                      <a:pt x="68" y="34"/>
                    </a:cubicBezTo>
                    <a:cubicBezTo>
                      <a:pt x="68" y="34"/>
                      <a:pt x="68" y="34"/>
                      <a:pt x="68" y="34"/>
                    </a:cubicBezTo>
                    <a:cubicBezTo>
                      <a:pt x="86" y="34"/>
                      <a:pt x="97" y="35"/>
                      <a:pt x="107" y="38"/>
                    </a:cubicBezTo>
                    <a:cubicBezTo>
                      <a:pt x="136" y="46"/>
                      <a:pt x="150" y="63"/>
                      <a:pt x="150" y="91"/>
                    </a:cubicBezTo>
                    <a:cubicBezTo>
                      <a:pt x="150" y="120"/>
                      <a:pt x="135" y="139"/>
                      <a:pt x="105" y="14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3" name="Freeform 10"/>
              <p:cNvSpPr>
                <a:spLocks noEditPoints="1"/>
              </p:cNvSpPr>
              <p:nvPr/>
            </p:nvSpPr>
            <p:spPr bwMode="auto">
              <a:xfrm>
                <a:off x="1513256" y="437296"/>
                <a:ext cx="110841" cy="127448"/>
              </a:xfrm>
              <a:custGeom>
                <a:avLst/>
                <a:gdLst>
                  <a:gd name="T0" fmla="*/ 113 w 164"/>
                  <a:gd name="T1" fmla="*/ 113 h 188"/>
                  <a:gd name="T2" fmla="*/ 158 w 164"/>
                  <a:gd name="T3" fmla="*/ 58 h 188"/>
                  <a:gd name="T4" fmla="*/ 82 w 164"/>
                  <a:gd name="T5" fmla="*/ 0 h 188"/>
                  <a:gd name="T6" fmla="*/ 19 w 164"/>
                  <a:gd name="T7" fmla="*/ 0 h 188"/>
                  <a:gd name="T8" fmla="*/ 0 w 164"/>
                  <a:gd name="T9" fmla="*/ 18 h 188"/>
                  <a:gd name="T10" fmla="*/ 0 w 164"/>
                  <a:gd name="T11" fmla="*/ 188 h 188"/>
                  <a:gd name="T12" fmla="*/ 38 w 164"/>
                  <a:gd name="T13" fmla="*/ 188 h 188"/>
                  <a:gd name="T14" fmla="*/ 38 w 164"/>
                  <a:gd name="T15" fmla="*/ 118 h 188"/>
                  <a:gd name="T16" fmla="*/ 72 w 164"/>
                  <a:gd name="T17" fmla="*/ 118 h 188"/>
                  <a:gd name="T18" fmla="*/ 119 w 164"/>
                  <a:gd name="T19" fmla="*/ 188 h 188"/>
                  <a:gd name="T20" fmla="*/ 164 w 164"/>
                  <a:gd name="T21" fmla="*/ 188 h 188"/>
                  <a:gd name="T22" fmla="*/ 113 w 164"/>
                  <a:gd name="T23" fmla="*/ 113 h 188"/>
                  <a:gd name="T24" fmla="*/ 38 w 164"/>
                  <a:gd name="T25" fmla="*/ 83 h 188"/>
                  <a:gd name="T26" fmla="*/ 38 w 164"/>
                  <a:gd name="T27" fmla="*/ 34 h 188"/>
                  <a:gd name="T28" fmla="*/ 85 w 164"/>
                  <a:gd name="T29" fmla="*/ 34 h 188"/>
                  <a:gd name="T30" fmla="*/ 118 w 164"/>
                  <a:gd name="T31" fmla="*/ 59 h 188"/>
                  <a:gd name="T32" fmla="*/ 77 w 164"/>
                  <a:gd name="T33" fmla="*/ 83 h 188"/>
                  <a:gd name="T34" fmla="*/ 38 w 164"/>
                  <a:gd name="T35" fmla="*/ 83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4" h="188">
                    <a:moveTo>
                      <a:pt x="113" y="113"/>
                    </a:moveTo>
                    <a:cubicBezTo>
                      <a:pt x="142" y="105"/>
                      <a:pt x="158" y="86"/>
                      <a:pt x="158" y="58"/>
                    </a:cubicBezTo>
                    <a:cubicBezTo>
                      <a:pt x="158" y="22"/>
                      <a:pt x="129" y="0"/>
                      <a:pt x="82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8" y="0"/>
                      <a:pt x="0" y="8"/>
                      <a:pt x="0" y="1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38" y="118"/>
                      <a:pt x="38" y="118"/>
                      <a:pt x="38" y="118"/>
                    </a:cubicBezTo>
                    <a:cubicBezTo>
                      <a:pt x="72" y="118"/>
                      <a:pt x="72" y="118"/>
                      <a:pt x="72" y="118"/>
                    </a:cubicBezTo>
                    <a:cubicBezTo>
                      <a:pt x="119" y="188"/>
                      <a:pt x="119" y="188"/>
                      <a:pt x="119" y="188"/>
                    </a:cubicBezTo>
                    <a:cubicBezTo>
                      <a:pt x="164" y="188"/>
                      <a:pt x="164" y="188"/>
                      <a:pt x="164" y="188"/>
                    </a:cubicBezTo>
                    <a:lnTo>
                      <a:pt x="113" y="113"/>
                    </a:lnTo>
                    <a:close/>
                    <a:moveTo>
                      <a:pt x="38" y="83"/>
                    </a:moveTo>
                    <a:cubicBezTo>
                      <a:pt x="38" y="34"/>
                      <a:pt x="38" y="34"/>
                      <a:pt x="38" y="34"/>
                    </a:cubicBezTo>
                    <a:cubicBezTo>
                      <a:pt x="85" y="34"/>
                      <a:pt x="85" y="34"/>
                      <a:pt x="85" y="34"/>
                    </a:cubicBezTo>
                    <a:cubicBezTo>
                      <a:pt x="98" y="34"/>
                      <a:pt x="118" y="38"/>
                      <a:pt x="118" y="59"/>
                    </a:cubicBezTo>
                    <a:cubicBezTo>
                      <a:pt x="118" y="69"/>
                      <a:pt x="114" y="83"/>
                      <a:pt x="77" y="83"/>
                    </a:cubicBezTo>
                    <a:lnTo>
                      <a:pt x="38" y="8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5" name="Freeform 11"/>
              <p:cNvSpPr>
                <a:spLocks/>
              </p:cNvSpPr>
              <p:nvPr/>
            </p:nvSpPr>
            <p:spPr bwMode="auto">
              <a:xfrm>
                <a:off x="738516" y="437296"/>
                <a:ext cx="25777" cy="127448"/>
              </a:xfrm>
              <a:custGeom>
                <a:avLst/>
                <a:gdLst>
                  <a:gd name="T0" fmla="*/ 0 w 38"/>
                  <a:gd name="T1" fmla="*/ 188 h 188"/>
                  <a:gd name="T2" fmla="*/ 38 w 38"/>
                  <a:gd name="T3" fmla="*/ 188 h 188"/>
                  <a:gd name="T4" fmla="*/ 38 w 38"/>
                  <a:gd name="T5" fmla="*/ 12 h 188"/>
                  <a:gd name="T6" fmla="*/ 25 w 38"/>
                  <a:gd name="T7" fmla="*/ 0 h 188"/>
                  <a:gd name="T8" fmla="*/ 13 w 38"/>
                  <a:gd name="T9" fmla="*/ 0 h 188"/>
                  <a:gd name="T10" fmla="*/ 0 w 38"/>
                  <a:gd name="T11" fmla="*/ 12 h 188"/>
                  <a:gd name="T12" fmla="*/ 0 w 38"/>
                  <a:gd name="T13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" h="188">
                    <a:moveTo>
                      <a:pt x="0" y="188"/>
                    </a:moveTo>
                    <a:cubicBezTo>
                      <a:pt x="38" y="188"/>
                      <a:pt x="38" y="188"/>
                      <a:pt x="38" y="188"/>
                    </a:cubicBezTo>
                    <a:cubicBezTo>
                      <a:pt x="38" y="12"/>
                      <a:pt x="38" y="12"/>
                      <a:pt x="38" y="12"/>
                    </a:cubicBezTo>
                    <a:cubicBezTo>
                      <a:pt x="38" y="5"/>
                      <a:pt x="32" y="0"/>
                      <a:pt x="25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0" y="5"/>
                      <a:pt x="0" y="12"/>
                    </a:cubicBezTo>
                    <a:lnTo>
                      <a:pt x="0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6" name="Freeform 12"/>
              <p:cNvSpPr>
                <a:spLocks/>
              </p:cNvSpPr>
              <p:nvPr/>
            </p:nvSpPr>
            <p:spPr bwMode="auto">
              <a:xfrm>
                <a:off x="1217394" y="437296"/>
                <a:ext cx="118001" cy="127448"/>
              </a:xfrm>
              <a:custGeom>
                <a:avLst/>
                <a:gdLst>
                  <a:gd name="T0" fmla="*/ 174 w 174"/>
                  <a:gd name="T1" fmla="*/ 188 h 188"/>
                  <a:gd name="T2" fmla="*/ 137 w 174"/>
                  <a:gd name="T3" fmla="*/ 188 h 188"/>
                  <a:gd name="T4" fmla="*/ 137 w 174"/>
                  <a:gd name="T5" fmla="*/ 110 h 188"/>
                  <a:gd name="T6" fmla="*/ 38 w 174"/>
                  <a:gd name="T7" fmla="*/ 110 h 188"/>
                  <a:gd name="T8" fmla="*/ 38 w 174"/>
                  <a:gd name="T9" fmla="*/ 188 h 188"/>
                  <a:gd name="T10" fmla="*/ 0 w 174"/>
                  <a:gd name="T11" fmla="*/ 188 h 188"/>
                  <a:gd name="T12" fmla="*/ 0 w 174"/>
                  <a:gd name="T13" fmla="*/ 12 h 188"/>
                  <a:gd name="T14" fmla="*/ 13 w 174"/>
                  <a:gd name="T15" fmla="*/ 0 h 188"/>
                  <a:gd name="T16" fmla="*/ 25 w 174"/>
                  <a:gd name="T17" fmla="*/ 0 h 188"/>
                  <a:gd name="T18" fmla="*/ 38 w 174"/>
                  <a:gd name="T19" fmla="*/ 12 h 188"/>
                  <a:gd name="T20" fmla="*/ 38 w 174"/>
                  <a:gd name="T21" fmla="*/ 75 h 188"/>
                  <a:gd name="T22" fmla="*/ 137 w 174"/>
                  <a:gd name="T23" fmla="*/ 75 h 188"/>
                  <a:gd name="T24" fmla="*/ 137 w 174"/>
                  <a:gd name="T25" fmla="*/ 12 h 188"/>
                  <a:gd name="T26" fmla="*/ 149 w 174"/>
                  <a:gd name="T27" fmla="*/ 0 h 188"/>
                  <a:gd name="T28" fmla="*/ 162 w 174"/>
                  <a:gd name="T29" fmla="*/ 0 h 188"/>
                  <a:gd name="T30" fmla="*/ 174 w 174"/>
                  <a:gd name="T31" fmla="*/ 12 h 188"/>
                  <a:gd name="T32" fmla="*/ 174 w 174"/>
                  <a:gd name="T33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4" h="188">
                    <a:moveTo>
                      <a:pt x="174" y="188"/>
                    </a:moveTo>
                    <a:cubicBezTo>
                      <a:pt x="137" y="188"/>
                      <a:pt x="137" y="188"/>
                      <a:pt x="137" y="188"/>
                    </a:cubicBezTo>
                    <a:cubicBezTo>
                      <a:pt x="137" y="110"/>
                      <a:pt x="137" y="110"/>
                      <a:pt x="137" y="110"/>
                    </a:cubicBezTo>
                    <a:cubicBezTo>
                      <a:pt x="38" y="110"/>
                      <a:pt x="38" y="110"/>
                      <a:pt x="38" y="110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6" y="0"/>
                      <a:pt x="13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32" y="0"/>
                      <a:pt x="38" y="5"/>
                      <a:pt x="38" y="12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137" y="75"/>
                      <a:pt x="137" y="75"/>
                      <a:pt x="137" y="75"/>
                    </a:cubicBezTo>
                    <a:cubicBezTo>
                      <a:pt x="137" y="12"/>
                      <a:pt x="137" y="12"/>
                      <a:pt x="137" y="12"/>
                    </a:cubicBezTo>
                    <a:cubicBezTo>
                      <a:pt x="137" y="5"/>
                      <a:pt x="142" y="0"/>
                      <a:pt x="149" y="0"/>
                    </a:cubicBezTo>
                    <a:cubicBezTo>
                      <a:pt x="162" y="0"/>
                      <a:pt x="162" y="0"/>
                      <a:pt x="162" y="0"/>
                    </a:cubicBezTo>
                    <a:cubicBezTo>
                      <a:pt x="169" y="0"/>
                      <a:pt x="174" y="5"/>
                      <a:pt x="174" y="12"/>
                    </a:cubicBezTo>
                    <a:lnTo>
                      <a:pt x="174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7" name="Freeform 13"/>
              <p:cNvSpPr>
                <a:spLocks/>
              </p:cNvSpPr>
              <p:nvPr/>
            </p:nvSpPr>
            <p:spPr bwMode="auto">
              <a:xfrm>
                <a:off x="1085646" y="435864"/>
                <a:ext cx="108836" cy="130025"/>
              </a:xfrm>
              <a:custGeom>
                <a:avLst/>
                <a:gdLst>
                  <a:gd name="T0" fmla="*/ 90 w 161"/>
                  <a:gd name="T1" fmla="*/ 78 h 192"/>
                  <a:gd name="T2" fmla="*/ 46 w 161"/>
                  <a:gd name="T3" fmla="*/ 56 h 192"/>
                  <a:gd name="T4" fmla="*/ 83 w 161"/>
                  <a:gd name="T5" fmla="*/ 36 h 192"/>
                  <a:gd name="T6" fmla="*/ 139 w 161"/>
                  <a:gd name="T7" fmla="*/ 49 h 192"/>
                  <a:gd name="T8" fmla="*/ 140 w 161"/>
                  <a:gd name="T9" fmla="*/ 49 h 192"/>
                  <a:gd name="T10" fmla="*/ 145 w 161"/>
                  <a:gd name="T11" fmla="*/ 47 h 192"/>
                  <a:gd name="T12" fmla="*/ 156 w 161"/>
                  <a:gd name="T13" fmla="*/ 25 h 192"/>
                  <a:gd name="T14" fmla="*/ 156 w 161"/>
                  <a:gd name="T15" fmla="*/ 23 h 192"/>
                  <a:gd name="T16" fmla="*/ 153 w 161"/>
                  <a:gd name="T17" fmla="*/ 18 h 192"/>
                  <a:gd name="T18" fmla="*/ 152 w 161"/>
                  <a:gd name="T19" fmla="*/ 17 h 192"/>
                  <a:gd name="T20" fmla="*/ 81 w 161"/>
                  <a:gd name="T21" fmla="*/ 0 h 192"/>
                  <a:gd name="T22" fmla="*/ 7 w 161"/>
                  <a:gd name="T23" fmla="*/ 57 h 192"/>
                  <a:gd name="T24" fmla="*/ 25 w 161"/>
                  <a:gd name="T25" fmla="*/ 96 h 192"/>
                  <a:gd name="T26" fmla="*/ 80 w 161"/>
                  <a:gd name="T27" fmla="*/ 113 h 192"/>
                  <a:gd name="T28" fmla="*/ 122 w 161"/>
                  <a:gd name="T29" fmla="*/ 133 h 192"/>
                  <a:gd name="T30" fmla="*/ 78 w 161"/>
                  <a:gd name="T31" fmla="*/ 157 h 192"/>
                  <a:gd name="T32" fmla="*/ 22 w 161"/>
                  <a:gd name="T33" fmla="*/ 142 h 192"/>
                  <a:gd name="T34" fmla="*/ 18 w 161"/>
                  <a:gd name="T35" fmla="*/ 139 h 192"/>
                  <a:gd name="T36" fmla="*/ 15 w 161"/>
                  <a:gd name="T37" fmla="*/ 143 h 192"/>
                  <a:gd name="T38" fmla="*/ 2 w 161"/>
                  <a:gd name="T39" fmla="*/ 166 h 192"/>
                  <a:gd name="T40" fmla="*/ 0 w 161"/>
                  <a:gd name="T41" fmla="*/ 170 h 192"/>
                  <a:gd name="T42" fmla="*/ 4 w 161"/>
                  <a:gd name="T43" fmla="*/ 172 h 192"/>
                  <a:gd name="T44" fmla="*/ 77 w 161"/>
                  <a:gd name="T45" fmla="*/ 192 h 192"/>
                  <a:gd name="T46" fmla="*/ 161 w 161"/>
                  <a:gd name="T47" fmla="*/ 132 h 192"/>
                  <a:gd name="T48" fmla="*/ 90 w 161"/>
                  <a:gd name="T49" fmla="*/ 78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61" h="192">
                    <a:moveTo>
                      <a:pt x="90" y="78"/>
                    </a:moveTo>
                    <a:cubicBezTo>
                      <a:pt x="63" y="74"/>
                      <a:pt x="46" y="71"/>
                      <a:pt x="46" y="56"/>
                    </a:cubicBezTo>
                    <a:cubicBezTo>
                      <a:pt x="46" y="43"/>
                      <a:pt x="60" y="36"/>
                      <a:pt x="83" y="36"/>
                    </a:cubicBezTo>
                    <a:cubicBezTo>
                      <a:pt x="109" y="36"/>
                      <a:pt x="130" y="45"/>
                      <a:pt x="139" y="49"/>
                    </a:cubicBezTo>
                    <a:cubicBezTo>
                      <a:pt x="139" y="49"/>
                      <a:pt x="139" y="49"/>
                      <a:pt x="140" y="49"/>
                    </a:cubicBezTo>
                    <a:cubicBezTo>
                      <a:pt x="142" y="49"/>
                      <a:pt x="144" y="49"/>
                      <a:pt x="145" y="47"/>
                    </a:cubicBezTo>
                    <a:cubicBezTo>
                      <a:pt x="156" y="25"/>
                      <a:pt x="156" y="25"/>
                      <a:pt x="156" y="25"/>
                    </a:cubicBezTo>
                    <a:cubicBezTo>
                      <a:pt x="156" y="24"/>
                      <a:pt x="156" y="23"/>
                      <a:pt x="156" y="23"/>
                    </a:cubicBezTo>
                    <a:cubicBezTo>
                      <a:pt x="156" y="21"/>
                      <a:pt x="155" y="19"/>
                      <a:pt x="153" y="18"/>
                    </a:cubicBezTo>
                    <a:cubicBezTo>
                      <a:pt x="152" y="17"/>
                      <a:pt x="152" y="17"/>
                      <a:pt x="152" y="17"/>
                    </a:cubicBezTo>
                    <a:cubicBezTo>
                      <a:pt x="133" y="7"/>
                      <a:pt x="106" y="0"/>
                      <a:pt x="81" y="0"/>
                    </a:cubicBezTo>
                    <a:cubicBezTo>
                      <a:pt x="35" y="0"/>
                      <a:pt x="7" y="22"/>
                      <a:pt x="7" y="57"/>
                    </a:cubicBezTo>
                    <a:cubicBezTo>
                      <a:pt x="7" y="75"/>
                      <a:pt x="13" y="87"/>
                      <a:pt x="25" y="96"/>
                    </a:cubicBezTo>
                    <a:cubicBezTo>
                      <a:pt x="40" y="107"/>
                      <a:pt x="61" y="110"/>
                      <a:pt x="80" y="113"/>
                    </a:cubicBezTo>
                    <a:cubicBezTo>
                      <a:pt x="106" y="117"/>
                      <a:pt x="122" y="119"/>
                      <a:pt x="122" y="133"/>
                    </a:cubicBezTo>
                    <a:cubicBezTo>
                      <a:pt x="122" y="155"/>
                      <a:pt x="91" y="157"/>
                      <a:pt x="78" y="157"/>
                    </a:cubicBezTo>
                    <a:cubicBezTo>
                      <a:pt x="57" y="157"/>
                      <a:pt x="38" y="152"/>
                      <a:pt x="22" y="142"/>
                    </a:cubicBezTo>
                    <a:cubicBezTo>
                      <a:pt x="18" y="139"/>
                      <a:pt x="18" y="139"/>
                      <a:pt x="18" y="139"/>
                    </a:cubicBezTo>
                    <a:cubicBezTo>
                      <a:pt x="15" y="143"/>
                      <a:pt x="15" y="143"/>
                      <a:pt x="15" y="143"/>
                    </a:cubicBezTo>
                    <a:cubicBezTo>
                      <a:pt x="2" y="166"/>
                      <a:pt x="2" y="166"/>
                      <a:pt x="2" y="166"/>
                    </a:cubicBezTo>
                    <a:cubicBezTo>
                      <a:pt x="0" y="170"/>
                      <a:pt x="0" y="170"/>
                      <a:pt x="0" y="170"/>
                    </a:cubicBezTo>
                    <a:cubicBezTo>
                      <a:pt x="4" y="172"/>
                      <a:pt x="4" y="172"/>
                      <a:pt x="4" y="172"/>
                    </a:cubicBezTo>
                    <a:cubicBezTo>
                      <a:pt x="18" y="181"/>
                      <a:pt x="42" y="192"/>
                      <a:pt x="77" y="192"/>
                    </a:cubicBezTo>
                    <a:cubicBezTo>
                      <a:pt x="128" y="192"/>
                      <a:pt x="161" y="169"/>
                      <a:pt x="161" y="132"/>
                    </a:cubicBezTo>
                    <a:cubicBezTo>
                      <a:pt x="161" y="88"/>
                      <a:pt x="122" y="82"/>
                      <a:pt x="90" y="7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8" name="Freeform 14"/>
              <p:cNvSpPr>
                <a:spLocks/>
              </p:cNvSpPr>
              <p:nvPr/>
            </p:nvSpPr>
            <p:spPr bwMode="auto">
              <a:xfrm>
                <a:off x="1642427" y="437296"/>
                <a:ext cx="93943" cy="127448"/>
              </a:xfrm>
              <a:custGeom>
                <a:avLst/>
                <a:gdLst>
                  <a:gd name="T0" fmla="*/ 128 w 139"/>
                  <a:gd name="T1" fmla="*/ 103 h 188"/>
                  <a:gd name="T2" fmla="*/ 121 w 139"/>
                  <a:gd name="T3" fmla="*/ 110 h 188"/>
                  <a:gd name="T4" fmla="*/ 38 w 139"/>
                  <a:gd name="T5" fmla="*/ 110 h 188"/>
                  <a:gd name="T6" fmla="*/ 38 w 139"/>
                  <a:gd name="T7" fmla="*/ 153 h 188"/>
                  <a:gd name="T8" fmla="*/ 139 w 139"/>
                  <a:gd name="T9" fmla="*/ 153 h 188"/>
                  <a:gd name="T10" fmla="*/ 139 w 139"/>
                  <a:gd name="T11" fmla="*/ 188 h 188"/>
                  <a:gd name="T12" fmla="*/ 0 w 139"/>
                  <a:gd name="T13" fmla="*/ 188 h 188"/>
                  <a:gd name="T14" fmla="*/ 0 w 139"/>
                  <a:gd name="T15" fmla="*/ 18 h 188"/>
                  <a:gd name="T16" fmla="*/ 19 w 139"/>
                  <a:gd name="T17" fmla="*/ 0 h 188"/>
                  <a:gd name="T18" fmla="*/ 130 w 139"/>
                  <a:gd name="T19" fmla="*/ 0 h 188"/>
                  <a:gd name="T20" fmla="*/ 137 w 139"/>
                  <a:gd name="T21" fmla="*/ 6 h 188"/>
                  <a:gd name="T22" fmla="*/ 137 w 139"/>
                  <a:gd name="T23" fmla="*/ 27 h 188"/>
                  <a:gd name="T24" fmla="*/ 130 w 139"/>
                  <a:gd name="T25" fmla="*/ 34 h 188"/>
                  <a:gd name="T26" fmla="*/ 38 w 139"/>
                  <a:gd name="T27" fmla="*/ 34 h 188"/>
                  <a:gd name="T28" fmla="*/ 38 w 139"/>
                  <a:gd name="T29" fmla="*/ 75 h 188"/>
                  <a:gd name="T30" fmla="*/ 121 w 139"/>
                  <a:gd name="T31" fmla="*/ 75 h 188"/>
                  <a:gd name="T32" fmla="*/ 128 w 139"/>
                  <a:gd name="T33" fmla="*/ 82 h 188"/>
                  <a:gd name="T34" fmla="*/ 128 w 139"/>
                  <a:gd name="T35" fmla="*/ 103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9" h="188">
                    <a:moveTo>
                      <a:pt x="128" y="103"/>
                    </a:moveTo>
                    <a:cubicBezTo>
                      <a:pt x="128" y="107"/>
                      <a:pt x="124" y="110"/>
                      <a:pt x="121" y="110"/>
                    </a:cubicBezTo>
                    <a:cubicBezTo>
                      <a:pt x="38" y="110"/>
                      <a:pt x="38" y="110"/>
                      <a:pt x="38" y="110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139" y="153"/>
                      <a:pt x="139" y="153"/>
                      <a:pt x="139" y="153"/>
                    </a:cubicBezTo>
                    <a:cubicBezTo>
                      <a:pt x="139" y="188"/>
                      <a:pt x="139" y="188"/>
                      <a:pt x="139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9" y="0"/>
                      <a:pt x="19" y="0"/>
                    </a:cubicBezTo>
                    <a:cubicBezTo>
                      <a:pt x="130" y="0"/>
                      <a:pt x="130" y="0"/>
                      <a:pt x="130" y="0"/>
                    </a:cubicBezTo>
                    <a:cubicBezTo>
                      <a:pt x="134" y="0"/>
                      <a:pt x="137" y="2"/>
                      <a:pt x="137" y="6"/>
                    </a:cubicBezTo>
                    <a:cubicBezTo>
                      <a:pt x="137" y="27"/>
                      <a:pt x="137" y="27"/>
                      <a:pt x="137" y="27"/>
                    </a:cubicBezTo>
                    <a:cubicBezTo>
                      <a:pt x="137" y="32"/>
                      <a:pt x="134" y="34"/>
                      <a:pt x="130" y="34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121" y="75"/>
                      <a:pt x="121" y="75"/>
                      <a:pt x="121" y="75"/>
                    </a:cubicBezTo>
                    <a:cubicBezTo>
                      <a:pt x="124" y="75"/>
                      <a:pt x="128" y="77"/>
                      <a:pt x="128" y="82"/>
                    </a:cubicBezTo>
                    <a:lnTo>
                      <a:pt x="128" y="10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</p:grpSp>
      </p:grp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>
          <a:xfrm>
            <a:off x="2502568" y="1424539"/>
            <a:ext cx="6282657" cy="1583356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2800" cap="all" baseline="0"/>
            </a:lvl1pPr>
          </a:lstStyle>
          <a:p>
            <a:r>
              <a:rPr lang="en-GB" dirty="0"/>
              <a:t>MINDSHARE Presentation title</a:t>
            </a:r>
          </a:p>
        </p:txBody>
      </p:sp>
      <p:sp>
        <p:nvSpPr>
          <p:cNvPr id="2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497138" y="3194050"/>
            <a:ext cx="6281737" cy="704850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400" b="1" cap="none" baseline="0">
                <a:solidFill>
                  <a:schemeClr val="tx2"/>
                </a:solidFill>
              </a:defRPr>
            </a:lvl1pPr>
            <a:lvl2pPr marL="457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ubtitle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358546" y="1223963"/>
            <a:ext cx="1960792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2485058" y="3016973"/>
            <a:ext cx="63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 userDrawn="1"/>
        </p:nvCxnSpPr>
        <p:spPr>
          <a:xfrm>
            <a:off x="2497138" y="1223963"/>
            <a:ext cx="628792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9762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 Client Cover Slide (Imag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497138" y="1414463"/>
            <a:ext cx="6287920" cy="1592262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2800" cap="all" baseline="0"/>
            </a:lvl1pPr>
          </a:lstStyle>
          <a:p>
            <a:r>
              <a:rPr lang="en-GB" dirty="0"/>
              <a:t>CLIENT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503387" y="3193541"/>
            <a:ext cx="6281737" cy="705359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400" b="1" cap="none" baseline="0">
                <a:solidFill>
                  <a:schemeClr val="tx2"/>
                </a:solidFill>
              </a:defRPr>
            </a:lvl1pPr>
            <a:lvl2pPr marL="457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ubtitle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2485058" y="3016973"/>
            <a:ext cx="63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663796" y="1414463"/>
            <a:ext cx="1333500" cy="1422401"/>
          </a:xfrm>
        </p:spPr>
        <p:txBody>
          <a:bodyPr anchor="ctr"/>
          <a:lstStyle>
            <a:lvl1pPr algn="ctr">
              <a:defRPr baseline="0"/>
            </a:lvl1pPr>
          </a:lstStyle>
          <a:p>
            <a:r>
              <a:rPr lang="en-GB"/>
              <a:t>Client Logo Here</a:t>
            </a:r>
          </a:p>
        </p:txBody>
      </p:sp>
      <p:grpSp>
        <p:nvGrpSpPr>
          <p:cNvPr id="25" name="Group 24"/>
          <p:cNvGrpSpPr>
            <a:grpSpLocks noChangeAspect="1"/>
          </p:cNvGrpSpPr>
          <p:nvPr userDrawn="1"/>
        </p:nvGrpSpPr>
        <p:grpSpPr>
          <a:xfrm>
            <a:off x="7651248" y="4407954"/>
            <a:ext cx="1097216" cy="338034"/>
            <a:chOff x="5043330" y="2582427"/>
            <a:chExt cx="2714033" cy="836158"/>
          </a:xfrm>
        </p:grpSpPr>
        <p:pic>
          <p:nvPicPr>
            <p:cNvPr id="34" name="logo graphic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21205" y="2582427"/>
              <a:ext cx="836158" cy="836158"/>
            </a:xfrm>
            <a:prstGeom prst="rect">
              <a:avLst/>
            </a:prstGeom>
          </p:spPr>
        </p:pic>
        <p:grpSp>
          <p:nvGrpSpPr>
            <p:cNvPr id="39" name="letters"/>
            <p:cNvGrpSpPr/>
            <p:nvPr/>
          </p:nvGrpSpPr>
          <p:grpSpPr>
            <a:xfrm>
              <a:off x="5043330" y="2901718"/>
              <a:ext cx="1777426" cy="197580"/>
              <a:chOff x="566670" y="435864"/>
              <a:chExt cx="1169700" cy="130025"/>
            </a:xfrm>
            <a:solidFill>
              <a:schemeClr val="tx1"/>
            </a:solidFill>
          </p:grpSpPr>
          <p:sp>
            <p:nvSpPr>
              <p:cNvPr id="40" name="Freeform 6"/>
              <p:cNvSpPr>
                <a:spLocks/>
              </p:cNvSpPr>
              <p:nvPr/>
            </p:nvSpPr>
            <p:spPr bwMode="auto">
              <a:xfrm>
                <a:off x="566670" y="437296"/>
                <a:ext cx="146069" cy="127448"/>
              </a:xfrm>
              <a:custGeom>
                <a:avLst/>
                <a:gdLst>
                  <a:gd name="T0" fmla="*/ 216 w 216"/>
                  <a:gd name="T1" fmla="*/ 188 h 188"/>
                  <a:gd name="T2" fmla="*/ 178 w 216"/>
                  <a:gd name="T3" fmla="*/ 188 h 188"/>
                  <a:gd name="T4" fmla="*/ 178 w 216"/>
                  <a:gd name="T5" fmla="*/ 66 h 188"/>
                  <a:gd name="T6" fmla="*/ 113 w 216"/>
                  <a:gd name="T7" fmla="*/ 145 h 188"/>
                  <a:gd name="T8" fmla="*/ 103 w 216"/>
                  <a:gd name="T9" fmla="*/ 145 h 188"/>
                  <a:gd name="T10" fmla="*/ 38 w 216"/>
                  <a:gd name="T11" fmla="*/ 66 h 188"/>
                  <a:gd name="T12" fmla="*/ 38 w 216"/>
                  <a:gd name="T13" fmla="*/ 188 h 188"/>
                  <a:gd name="T14" fmla="*/ 0 w 216"/>
                  <a:gd name="T15" fmla="*/ 188 h 188"/>
                  <a:gd name="T16" fmla="*/ 0 w 216"/>
                  <a:gd name="T17" fmla="*/ 20 h 188"/>
                  <a:gd name="T18" fmla="*/ 20 w 216"/>
                  <a:gd name="T19" fmla="*/ 0 h 188"/>
                  <a:gd name="T20" fmla="*/ 20 w 216"/>
                  <a:gd name="T21" fmla="*/ 0 h 188"/>
                  <a:gd name="T22" fmla="*/ 38 w 216"/>
                  <a:gd name="T23" fmla="*/ 9 h 188"/>
                  <a:gd name="T24" fmla="*/ 108 w 216"/>
                  <a:gd name="T25" fmla="*/ 94 h 188"/>
                  <a:gd name="T26" fmla="*/ 182 w 216"/>
                  <a:gd name="T27" fmla="*/ 6 h 188"/>
                  <a:gd name="T28" fmla="*/ 196 w 216"/>
                  <a:gd name="T29" fmla="*/ 0 h 188"/>
                  <a:gd name="T30" fmla="*/ 196 w 216"/>
                  <a:gd name="T31" fmla="*/ 0 h 188"/>
                  <a:gd name="T32" fmla="*/ 216 w 216"/>
                  <a:gd name="T33" fmla="*/ 19 h 188"/>
                  <a:gd name="T34" fmla="*/ 216 w 216"/>
                  <a:gd name="T35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16" h="188">
                    <a:moveTo>
                      <a:pt x="216" y="188"/>
                    </a:moveTo>
                    <a:cubicBezTo>
                      <a:pt x="178" y="188"/>
                      <a:pt x="178" y="188"/>
                      <a:pt x="178" y="188"/>
                    </a:cubicBezTo>
                    <a:cubicBezTo>
                      <a:pt x="178" y="66"/>
                      <a:pt x="178" y="66"/>
                      <a:pt x="178" y="66"/>
                    </a:cubicBezTo>
                    <a:cubicBezTo>
                      <a:pt x="113" y="145"/>
                      <a:pt x="113" y="145"/>
                      <a:pt x="113" y="145"/>
                    </a:cubicBezTo>
                    <a:cubicBezTo>
                      <a:pt x="110" y="148"/>
                      <a:pt x="106" y="148"/>
                      <a:pt x="103" y="145"/>
                    </a:cubicBezTo>
                    <a:cubicBezTo>
                      <a:pt x="38" y="66"/>
                      <a:pt x="38" y="66"/>
                      <a:pt x="38" y="66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8" y="0"/>
                      <a:pt x="32" y="3"/>
                      <a:pt x="38" y="9"/>
                    </a:cubicBezTo>
                    <a:cubicBezTo>
                      <a:pt x="108" y="94"/>
                      <a:pt x="108" y="94"/>
                      <a:pt x="108" y="94"/>
                    </a:cubicBezTo>
                    <a:cubicBezTo>
                      <a:pt x="182" y="6"/>
                      <a:pt x="182" y="6"/>
                      <a:pt x="182" y="6"/>
                    </a:cubicBezTo>
                    <a:cubicBezTo>
                      <a:pt x="185" y="2"/>
                      <a:pt x="190" y="0"/>
                      <a:pt x="196" y="0"/>
                    </a:cubicBezTo>
                    <a:cubicBezTo>
                      <a:pt x="196" y="0"/>
                      <a:pt x="196" y="0"/>
                      <a:pt x="196" y="0"/>
                    </a:cubicBezTo>
                    <a:cubicBezTo>
                      <a:pt x="207" y="0"/>
                      <a:pt x="216" y="8"/>
                      <a:pt x="216" y="19"/>
                    </a:cubicBezTo>
                    <a:lnTo>
                      <a:pt x="216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41" name="Freeform 7"/>
              <p:cNvSpPr>
                <a:spLocks noEditPoints="1"/>
              </p:cNvSpPr>
              <p:nvPr/>
            </p:nvSpPr>
            <p:spPr bwMode="auto">
              <a:xfrm>
                <a:off x="1350862" y="436723"/>
                <a:ext cx="146069" cy="128020"/>
              </a:xfrm>
              <a:custGeom>
                <a:avLst/>
                <a:gdLst>
                  <a:gd name="T0" fmla="*/ 0 w 216"/>
                  <a:gd name="T1" fmla="*/ 189 h 189"/>
                  <a:gd name="T2" fmla="*/ 42 w 216"/>
                  <a:gd name="T3" fmla="*/ 189 h 189"/>
                  <a:gd name="T4" fmla="*/ 66 w 216"/>
                  <a:gd name="T5" fmla="*/ 138 h 189"/>
                  <a:gd name="T6" fmla="*/ 148 w 216"/>
                  <a:gd name="T7" fmla="*/ 138 h 189"/>
                  <a:gd name="T8" fmla="*/ 174 w 216"/>
                  <a:gd name="T9" fmla="*/ 189 h 189"/>
                  <a:gd name="T10" fmla="*/ 216 w 216"/>
                  <a:gd name="T11" fmla="*/ 189 h 189"/>
                  <a:gd name="T12" fmla="*/ 124 w 216"/>
                  <a:gd name="T13" fmla="*/ 9 h 189"/>
                  <a:gd name="T14" fmla="*/ 106 w 216"/>
                  <a:gd name="T15" fmla="*/ 0 h 189"/>
                  <a:gd name="T16" fmla="*/ 106 w 216"/>
                  <a:gd name="T17" fmla="*/ 0 h 189"/>
                  <a:gd name="T18" fmla="*/ 89 w 216"/>
                  <a:gd name="T19" fmla="*/ 9 h 189"/>
                  <a:gd name="T20" fmla="*/ 0 w 216"/>
                  <a:gd name="T21" fmla="*/ 189 h 189"/>
                  <a:gd name="T22" fmla="*/ 106 w 216"/>
                  <a:gd name="T23" fmla="*/ 55 h 189"/>
                  <a:gd name="T24" fmla="*/ 133 w 216"/>
                  <a:gd name="T25" fmla="*/ 108 h 189"/>
                  <a:gd name="T26" fmla="*/ 81 w 216"/>
                  <a:gd name="T27" fmla="*/ 108 h 189"/>
                  <a:gd name="T28" fmla="*/ 106 w 216"/>
                  <a:gd name="T29" fmla="*/ 55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16" h="189">
                    <a:moveTo>
                      <a:pt x="0" y="189"/>
                    </a:moveTo>
                    <a:cubicBezTo>
                      <a:pt x="42" y="189"/>
                      <a:pt x="42" y="189"/>
                      <a:pt x="42" y="189"/>
                    </a:cubicBezTo>
                    <a:cubicBezTo>
                      <a:pt x="66" y="138"/>
                      <a:pt x="66" y="138"/>
                      <a:pt x="66" y="138"/>
                    </a:cubicBezTo>
                    <a:cubicBezTo>
                      <a:pt x="148" y="138"/>
                      <a:pt x="148" y="138"/>
                      <a:pt x="148" y="138"/>
                    </a:cubicBezTo>
                    <a:cubicBezTo>
                      <a:pt x="174" y="189"/>
                      <a:pt x="174" y="189"/>
                      <a:pt x="174" y="189"/>
                    </a:cubicBezTo>
                    <a:cubicBezTo>
                      <a:pt x="216" y="189"/>
                      <a:pt x="216" y="189"/>
                      <a:pt x="216" y="189"/>
                    </a:cubicBezTo>
                    <a:cubicBezTo>
                      <a:pt x="124" y="9"/>
                      <a:pt x="124" y="9"/>
                      <a:pt x="124" y="9"/>
                    </a:cubicBezTo>
                    <a:cubicBezTo>
                      <a:pt x="120" y="3"/>
                      <a:pt x="114" y="0"/>
                      <a:pt x="106" y="0"/>
                    </a:cubicBezTo>
                    <a:cubicBezTo>
                      <a:pt x="106" y="0"/>
                      <a:pt x="106" y="0"/>
                      <a:pt x="106" y="0"/>
                    </a:cubicBezTo>
                    <a:cubicBezTo>
                      <a:pt x="99" y="0"/>
                      <a:pt x="93" y="3"/>
                      <a:pt x="89" y="9"/>
                    </a:cubicBezTo>
                    <a:lnTo>
                      <a:pt x="0" y="189"/>
                    </a:lnTo>
                    <a:close/>
                    <a:moveTo>
                      <a:pt x="106" y="55"/>
                    </a:moveTo>
                    <a:cubicBezTo>
                      <a:pt x="133" y="108"/>
                      <a:pt x="133" y="108"/>
                      <a:pt x="133" y="108"/>
                    </a:cubicBezTo>
                    <a:cubicBezTo>
                      <a:pt x="81" y="108"/>
                      <a:pt x="81" y="108"/>
                      <a:pt x="81" y="108"/>
                    </a:cubicBezTo>
                    <a:lnTo>
                      <a:pt x="106" y="5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42" name="Freeform 8"/>
              <p:cNvSpPr>
                <a:spLocks/>
              </p:cNvSpPr>
              <p:nvPr/>
            </p:nvSpPr>
            <p:spPr bwMode="auto">
              <a:xfrm>
                <a:off x="789211" y="437296"/>
                <a:ext cx="128598" cy="127448"/>
              </a:xfrm>
              <a:custGeom>
                <a:avLst/>
                <a:gdLst>
                  <a:gd name="T0" fmla="*/ 190 w 190"/>
                  <a:gd name="T1" fmla="*/ 188 h 188"/>
                  <a:gd name="T2" fmla="*/ 163 w 190"/>
                  <a:gd name="T3" fmla="*/ 188 h 188"/>
                  <a:gd name="T4" fmla="*/ 38 w 190"/>
                  <a:gd name="T5" fmla="*/ 62 h 188"/>
                  <a:gd name="T6" fmla="*/ 38 w 190"/>
                  <a:gd name="T7" fmla="*/ 188 h 188"/>
                  <a:gd name="T8" fmla="*/ 0 w 190"/>
                  <a:gd name="T9" fmla="*/ 188 h 188"/>
                  <a:gd name="T10" fmla="*/ 0 w 190"/>
                  <a:gd name="T11" fmla="*/ 20 h 188"/>
                  <a:gd name="T12" fmla="*/ 21 w 190"/>
                  <a:gd name="T13" fmla="*/ 0 h 188"/>
                  <a:gd name="T14" fmla="*/ 21 w 190"/>
                  <a:gd name="T15" fmla="*/ 0 h 188"/>
                  <a:gd name="T16" fmla="*/ 36 w 190"/>
                  <a:gd name="T17" fmla="*/ 6 h 188"/>
                  <a:gd name="T18" fmla="*/ 152 w 190"/>
                  <a:gd name="T19" fmla="*/ 123 h 188"/>
                  <a:gd name="T20" fmla="*/ 152 w 190"/>
                  <a:gd name="T21" fmla="*/ 12 h 188"/>
                  <a:gd name="T22" fmla="*/ 165 w 190"/>
                  <a:gd name="T23" fmla="*/ 0 h 188"/>
                  <a:gd name="T24" fmla="*/ 178 w 190"/>
                  <a:gd name="T25" fmla="*/ 0 h 188"/>
                  <a:gd name="T26" fmla="*/ 190 w 190"/>
                  <a:gd name="T27" fmla="*/ 12 h 188"/>
                  <a:gd name="T28" fmla="*/ 190 w 190"/>
                  <a:gd name="T29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0" h="188">
                    <a:moveTo>
                      <a:pt x="190" y="188"/>
                    </a:moveTo>
                    <a:cubicBezTo>
                      <a:pt x="163" y="188"/>
                      <a:pt x="163" y="188"/>
                      <a:pt x="163" y="188"/>
                    </a:cubicBezTo>
                    <a:cubicBezTo>
                      <a:pt x="38" y="62"/>
                      <a:pt x="38" y="62"/>
                      <a:pt x="38" y="62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1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7" y="0"/>
                      <a:pt x="32" y="2"/>
                      <a:pt x="36" y="6"/>
                    </a:cubicBezTo>
                    <a:cubicBezTo>
                      <a:pt x="152" y="123"/>
                      <a:pt x="152" y="123"/>
                      <a:pt x="152" y="123"/>
                    </a:cubicBezTo>
                    <a:cubicBezTo>
                      <a:pt x="152" y="12"/>
                      <a:pt x="152" y="12"/>
                      <a:pt x="152" y="12"/>
                    </a:cubicBezTo>
                    <a:cubicBezTo>
                      <a:pt x="152" y="5"/>
                      <a:pt x="158" y="0"/>
                      <a:pt x="165" y="0"/>
                    </a:cubicBezTo>
                    <a:cubicBezTo>
                      <a:pt x="178" y="0"/>
                      <a:pt x="178" y="0"/>
                      <a:pt x="178" y="0"/>
                    </a:cubicBezTo>
                    <a:cubicBezTo>
                      <a:pt x="185" y="0"/>
                      <a:pt x="190" y="5"/>
                      <a:pt x="190" y="12"/>
                    </a:cubicBezTo>
                    <a:lnTo>
                      <a:pt x="190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43" name="Freeform 9"/>
              <p:cNvSpPr>
                <a:spLocks noEditPoints="1"/>
              </p:cNvSpPr>
              <p:nvPr/>
            </p:nvSpPr>
            <p:spPr bwMode="auto">
              <a:xfrm>
                <a:off x="943586" y="437296"/>
                <a:ext cx="127739" cy="127448"/>
              </a:xfrm>
              <a:custGeom>
                <a:avLst/>
                <a:gdLst>
                  <a:gd name="T0" fmla="*/ 117 w 189"/>
                  <a:gd name="T1" fmla="*/ 4 h 188"/>
                  <a:gd name="T2" fmla="*/ 72 w 189"/>
                  <a:gd name="T3" fmla="*/ 0 h 188"/>
                  <a:gd name="T4" fmla="*/ 19 w 189"/>
                  <a:gd name="T5" fmla="*/ 0 h 188"/>
                  <a:gd name="T6" fmla="*/ 0 w 189"/>
                  <a:gd name="T7" fmla="*/ 18 h 188"/>
                  <a:gd name="T8" fmla="*/ 0 w 189"/>
                  <a:gd name="T9" fmla="*/ 188 h 188"/>
                  <a:gd name="T10" fmla="*/ 62 w 189"/>
                  <a:gd name="T11" fmla="*/ 188 h 188"/>
                  <a:gd name="T12" fmla="*/ 115 w 189"/>
                  <a:gd name="T13" fmla="*/ 182 h 188"/>
                  <a:gd name="T14" fmla="*/ 189 w 189"/>
                  <a:gd name="T15" fmla="*/ 91 h 188"/>
                  <a:gd name="T16" fmla="*/ 117 w 189"/>
                  <a:gd name="T17" fmla="*/ 4 h 188"/>
                  <a:gd name="T18" fmla="*/ 105 w 189"/>
                  <a:gd name="T19" fmla="*/ 148 h 188"/>
                  <a:gd name="T20" fmla="*/ 62 w 189"/>
                  <a:gd name="T21" fmla="*/ 153 h 188"/>
                  <a:gd name="T22" fmla="*/ 62 w 189"/>
                  <a:gd name="T23" fmla="*/ 153 h 188"/>
                  <a:gd name="T24" fmla="*/ 38 w 189"/>
                  <a:gd name="T25" fmla="*/ 153 h 188"/>
                  <a:gd name="T26" fmla="*/ 38 w 189"/>
                  <a:gd name="T27" fmla="*/ 153 h 188"/>
                  <a:gd name="T28" fmla="*/ 38 w 189"/>
                  <a:gd name="T29" fmla="*/ 34 h 188"/>
                  <a:gd name="T30" fmla="*/ 38 w 189"/>
                  <a:gd name="T31" fmla="*/ 34 h 188"/>
                  <a:gd name="T32" fmla="*/ 68 w 189"/>
                  <a:gd name="T33" fmla="*/ 34 h 188"/>
                  <a:gd name="T34" fmla="*/ 68 w 189"/>
                  <a:gd name="T35" fmla="*/ 34 h 188"/>
                  <a:gd name="T36" fmla="*/ 107 w 189"/>
                  <a:gd name="T37" fmla="*/ 38 h 188"/>
                  <a:gd name="T38" fmla="*/ 150 w 189"/>
                  <a:gd name="T39" fmla="*/ 91 h 188"/>
                  <a:gd name="T40" fmla="*/ 105 w 189"/>
                  <a:gd name="T41" fmla="*/ 14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89" h="188">
                    <a:moveTo>
                      <a:pt x="117" y="4"/>
                    </a:moveTo>
                    <a:cubicBezTo>
                      <a:pt x="104" y="1"/>
                      <a:pt x="89" y="0"/>
                      <a:pt x="72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9" y="0"/>
                      <a:pt x="0" y="8"/>
                      <a:pt x="0" y="1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62" y="188"/>
                      <a:pt x="62" y="188"/>
                      <a:pt x="62" y="188"/>
                    </a:cubicBezTo>
                    <a:cubicBezTo>
                      <a:pt x="84" y="188"/>
                      <a:pt x="100" y="186"/>
                      <a:pt x="115" y="182"/>
                    </a:cubicBezTo>
                    <a:cubicBezTo>
                      <a:pt x="163" y="168"/>
                      <a:pt x="189" y="136"/>
                      <a:pt x="189" y="91"/>
                    </a:cubicBezTo>
                    <a:cubicBezTo>
                      <a:pt x="189" y="46"/>
                      <a:pt x="164" y="15"/>
                      <a:pt x="117" y="4"/>
                    </a:cubicBezTo>
                    <a:close/>
                    <a:moveTo>
                      <a:pt x="105" y="148"/>
                    </a:moveTo>
                    <a:cubicBezTo>
                      <a:pt x="94" y="151"/>
                      <a:pt x="79" y="153"/>
                      <a:pt x="62" y="153"/>
                    </a:cubicBezTo>
                    <a:cubicBezTo>
                      <a:pt x="62" y="153"/>
                      <a:pt x="62" y="153"/>
                      <a:pt x="62" y="153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68" y="34"/>
                      <a:pt x="68" y="34"/>
                      <a:pt x="68" y="34"/>
                    </a:cubicBezTo>
                    <a:cubicBezTo>
                      <a:pt x="68" y="34"/>
                      <a:pt x="68" y="34"/>
                      <a:pt x="68" y="34"/>
                    </a:cubicBezTo>
                    <a:cubicBezTo>
                      <a:pt x="86" y="34"/>
                      <a:pt x="97" y="35"/>
                      <a:pt x="107" y="38"/>
                    </a:cubicBezTo>
                    <a:cubicBezTo>
                      <a:pt x="136" y="46"/>
                      <a:pt x="150" y="63"/>
                      <a:pt x="150" y="91"/>
                    </a:cubicBezTo>
                    <a:cubicBezTo>
                      <a:pt x="150" y="120"/>
                      <a:pt x="135" y="139"/>
                      <a:pt x="105" y="14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44" name="Freeform 10"/>
              <p:cNvSpPr>
                <a:spLocks noEditPoints="1"/>
              </p:cNvSpPr>
              <p:nvPr/>
            </p:nvSpPr>
            <p:spPr bwMode="auto">
              <a:xfrm>
                <a:off x="1513256" y="437296"/>
                <a:ext cx="110841" cy="127448"/>
              </a:xfrm>
              <a:custGeom>
                <a:avLst/>
                <a:gdLst>
                  <a:gd name="T0" fmla="*/ 113 w 164"/>
                  <a:gd name="T1" fmla="*/ 113 h 188"/>
                  <a:gd name="T2" fmla="*/ 158 w 164"/>
                  <a:gd name="T3" fmla="*/ 58 h 188"/>
                  <a:gd name="T4" fmla="*/ 82 w 164"/>
                  <a:gd name="T5" fmla="*/ 0 h 188"/>
                  <a:gd name="T6" fmla="*/ 19 w 164"/>
                  <a:gd name="T7" fmla="*/ 0 h 188"/>
                  <a:gd name="T8" fmla="*/ 0 w 164"/>
                  <a:gd name="T9" fmla="*/ 18 h 188"/>
                  <a:gd name="T10" fmla="*/ 0 w 164"/>
                  <a:gd name="T11" fmla="*/ 188 h 188"/>
                  <a:gd name="T12" fmla="*/ 38 w 164"/>
                  <a:gd name="T13" fmla="*/ 188 h 188"/>
                  <a:gd name="T14" fmla="*/ 38 w 164"/>
                  <a:gd name="T15" fmla="*/ 118 h 188"/>
                  <a:gd name="T16" fmla="*/ 72 w 164"/>
                  <a:gd name="T17" fmla="*/ 118 h 188"/>
                  <a:gd name="T18" fmla="*/ 119 w 164"/>
                  <a:gd name="T19" fmla="*/ 188 h 188"/>
                  <a:gd name="T20" fmla="*/ 164 w 164"/>
                  <a:gd name="T21" fmla="*/ 188 h 188"/>
                  <a:gd name="T22" fmla="*/ 113 w 164"/>
                  <a:gd name="T23" fmla="*/ 113 h 188"/>
                  <a:gd name="T24" fmla="*/ 38 w 164"/>
                  <a:gd name="T25" fmla="*/ 83 h 188"/>
                  <a:gd name="T26" fmla="*/ 38 w 164"/>
                  <a:gd name="T27" fmla="*/ 34 h 188"/>
                  <a:gd name="T28" fmla="*/ 85 w 164"/>
                  <a:gd name="T29" fmla="*/ 34 h 188"/>
                  <a:gd name="T30" fmla="*/ 118 w 164"/>
                  <a:gd name="T31" fmla="*/ 59 h 188"/>
                  <a:gd name="T32" fmla="*/ 77 w 164"/>
                  <a:gd name="T33" fmla="*/ 83 h 188"/>
                  <a:gd name="T34" fmla="*/ 38 w 164"/>
                  <a:gd name="T35" fmla="*/ 83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4" h="188">
                    <a:moveTo>
                      <a:pt x="113" y="113"/>
                    </a:moveTo>
                    <a:cubicBezTo>
                      <a:pt x="142" y="105"/>
                      <a:pt x="158" y="86"/>
                      <a:pt x="158" y="58"/>
                    </a:cubicBezTo>
                    <a:cubicBezTo>
                      <a:pt x="158" y="22"/>
                      <a:pt x="129" y="0"/>
                      <a:pt x="82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8" y="0"/>
                      <a:pt x="0" y="8"/>
                      <a:pt x="0" y="1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38" y="118"/>
                      <a:pt x="38" y="118"/>
                      <a:pt x="38" y="118"/>
                    </a:cubicBezTo>
                    <a:cubicBezTo>
                      <a:pt x="72" y="118"/>
                      <a:pt x="72" y="118"/>
                      <a:pt x="72" y="118"/>
                    </a:cubicBezTo>
                    <a:cubicBezTo>
                      <a:pt x="119" y="188"/>
                      <a:pt x="119" y="188"/>
                      <a:pt x="119" y="188"/>
                    </a:cubicBezTo>
                    <a:cubicBezTo>
                      <a:pt x="164" y="188"/>
                      <a:pt x="164" y="188"/>
                      <a:pt x="164" y="188"/>
                    </a:cubicBezTo>
                    <a:lnTo>
                      <a:pt x="113" y="113"/>
                    </a:lnTo>
                    <a:close/>
                    <a:moveTo>
                      <a:pt x="38" y="83"/>
                    </a:moveTo>
                    <a:cubicBezTo>
                      <a:pt x="38" y="34"/>
                      <a:pt x="38" y="34"/>
                      <a:pt x="38" y="34"/>
                    </a:cubicBezTo>
                    <a:cubicBezTo>
                      <a:pt x="85" y="34"/>
                      <a:pt x="85" y="34"/>
                      <a:pt x="85" y="34"/>
                    </a:cubicBezTo>
                    <a:cubicBezTo>
                      <a:pt x="98" y="34"/>
                      <a:pt x="118" y="38"/>
                      <a:pt x="118" y="59"/>
                    </a:cubicBezTo>
                    <a:cubicBezTo>
                      <a:pt x="118" y="69"/>
                      <a:pt x="114" y="83"/>
                      <a:pt x="77" y="83"/>
                    </a:cubicBezTo>
                    <a:lnTo>
                      <a:pt x="38" y="8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45" name="Freeform 11"/>
              <p:cNvSpPr>
                <a:spLocks/>
              </p:cNvSpPr>
              <p:nvPr/>
            </p:nvSpPr>
            <p:spPr bwMode="auto">
              <a:xfrm>
                <a:off x="738516" y="437296"/>
                <a:ext cx="25777" cy="127448"/>
              </a:xfrm>
              <a:custGeom>
                <a:avLst/>
                <a:gdLst>
                  <a:gd name="T0" fmla="*/ 0 w 38"/>
                  <a:gd name="T1" fmla="*/ 188 h 188"/>
                  <a:gd name="T2" fmla="*/ 38 w 38"/>
                  <a:gd name="T3" fmla="*/ 188 h 188"/>
                  <a:gd name="T4" fmla="*/ 38 w 38"/>
                  <a:gd name="T5" fmla="*/ 12 h 188"/>
                  <a:gd name="T6" fmla="*/ 25 w 38"/>
                  <a:gd name="T7" fmla="*/ 0 h 188"/>
                  <a:gd name="T8" fmla="*/ 13 w 38"/>
                  <a:gd name="T9" fmla="*/ 0 h 188"/>
                  <a:gd name="T10" fmla="*/ 0 w 38"/>
                  <a:gd name="T11" fmla="*/ 12 h 188"/>
                  <a:gd name="T12" fmla="*/ 0 w 38"/>
                  <a:gd name="T13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" h="188">
                    <a:moveTo>
                      <a:pt x="0" y="188"/>
                    </a:moveTo>
                    <a:cubicBezTo>
                      <a:pt x="38" y="188"/>
                      <a:pt x="38" y="188"/>
                      <a:pt x="38" y="188"/>
                    </a:cubicBezTo>
                    <a:cubicBezTo>
                      <a:pt x="38" y="12"/>
                      <a:pt x="38" y="12"/>
                      <a:pt x="38" y="12"/>
                    </a:cubicBezTo>
                    <a:cubicBezTo>
                      <a:pt x="38" y="5"/>
                      <a:pt x="32" y="0"/>
                      <a:pt x="25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0" y="5"/>
                      <a:pt x="0" y="12"/>
                    </a:cubicBezTo>
                    <a:lnTo>
                      <a:pt x="0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46" name="Freeform 12"/>
              <p:cNvSpPr>
                <a:spLocks/>
              </p:cNvSpPr>
              <p:nvPr/>
            </p:nvSpPr>
            <p:spPr bwMode="auto">
              <a:xfrm>
                <a:off x="1217394" y="437296"/>
                <a:ext cx="118001" cy="127448"/>
              </a:xfrm>
              <a:custGeom>
                <a:avLst/>
                <a:gdLst>
                  <a:gd name="T0" fmla="*/ 174 w 174"/>
                  <a:gd name="T1" fmla="*/ 188 h 188"/>
                  <a:gd name="T2" fmla="*/ 137 w 174"/>
                  <a:gd name="T3" fmla="*/ 188 h 188"/>
                  <a:gd name="T4" fmla="*/ 137 w 174"/>
                  <a:gd name="T5" fmla="*/ 110 h 188"/>
                  <a:gd name="T6" fmla="*/ 38 w 174"/>
                  <a:gd name="T7" fmla="*/ 110 h 188"/>
                  <a:gd name="T8" fmla="*/ 38 w 174"/>
                  <a:gd name="T9" fmla="*/ 188 h 188"/>
                  <a:gd name="T10" fmla="*/ 0 w 174"/>
                  <a:gd name="T11" fmla="*/ 188 h 188"/>
                  <a:gd name="T12" fmla="*/ 0 w 174"/>
                  <a:gd name="T13" fmla="*/ 12 h 188"/>
                  <a:gd name="T14" fmla="*/ 13 w 174"/>
                  <a:gd name="T15" fmla="*/ 0 h 188"/>
                  <a:gd name="T16" fmla="*/ 25 w 174"/>
                  <a:gd name="T17" fmla="*/ 0 h 188"/>
                  <a:gd name="T18" fmla="*/ 38 w 174"/>
                  <a:gd name="T19" fmla="*/ 12 h 188"/>
                  <a:gd name="T20" fmla="*/ 38 w 174"/>
                  <a:gd name="T21" fmla="*/ 75 h 188"/>
                  <a:gd name="T22" fmla="*/ 137 w 174"/>
                  <a:gd name="T23" fmla="*/ 75 h 188"/>
                  <a:gd name="T24" fmla="*/ 137 w 174"/>
                  <a:gd name="T25" fmla="*/ 12 h 188"/>
                  <a:gd name="T26" fmla="*/ 149 w 174"/>
                  <a:gd name="T27" fmla="*/ 0 h 188"/>
                  <a:gd name="T28" fmla="*/ 162 w 174"/>
                  <a:gd name="T29" fmla="*/ 0 h 188"/>
                  <a:gd name="T30" fmla="*/ 174 w 174"/>
                  <a:gd name="T31" fmla="*/ 12 h 188"/>
                  <a:gd name="T32" fmla="*/ 174 w 174"/>
                  <a:gd name="T33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4" h="188">
                    <a:moveTo>
                      <a:pt x="174" y="188"/>
                    </a:moveTo>
                    <a:cubicBezTo>
                      <a:pt x="137" y="188"/>
                      <a:pt x="137" y="188"/>
                      <a:pt x="137" y="188"/>
                    </a:cubicBezTo>
                    <a:cubicBezTo>
                      <a:pt x="137" y="110"/>
                      <a:pt x="137" y="110"/>
                      <a:pt x="137" y="110"/>
                    </a:cubicBezTo>
                    <a:cubicBezTo>
                      <a:pt x="38" y="110"/>
                      <a:pt x="38" y="110"/>
                      <a:pt x="38" y="110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6" y="0"/>
                      <a:pt x="13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32" y="0"/>
                      <a:pt x="38" y="5"/>
                      <a:pt x="38" y="12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137" y="75"/>
                      <a:pt x="137" y="75"/>
                      <a:pt x="137" y="75"/>
                    </a:cubicBezTo>
                    <a:cubicBezTo>
                      <a:pt x="137" y="12"/>
                      <a:pt x="137" y="12"/>
                      <a:pt x="137" y="12"/>
                    </a:cubicBezTo>
                    <a:cubicBezTo>
                      <a:pt x="137" y="5"/>
                      <a:pt x="142" y="0"/>
                      <a:pt x="149" y="0"/>
                    </a:cubicBezTo>
                    <a:cubicBezTo>
                      <a:pt x="162" y="0"/>
                      <a:pt x="162" y="0"/>
                      <a:pt x="162" y="0"/>
                    </a:cubicBezTo>
                    <a:cubicBezTo>
                      <a:pt x="169" y="0"/>
                      <a:pt x="174" y="5"/>
                      <a:pt x="174" y="12"/>
                    </a:cubicBezTo>
                    <a:lnTo>
                      <a:pt x="174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47" name="Freeform 13"/>
              <p:cNvSpPr>
                <a:spLocks/>
              </p:cNvSpPr>
              <p:nvPr/>
            </p:nvSpPr>
            <p:spPr bwMode="auto">
              <a:xfrm>
                <a:off x="1085646" y="435864"/>
                <a:ext cx="108836" cy="130025"/>
              </a:xfrm>
              <a:custGeom>
                <a:avLst/>
                <a:gdLst>
                  <a:gd name="T0" fmla="*/ 90 w 161"/>
                  <a:gd name="T1" fmla="*/ 78 h 192"/>
                  <a:gd name="T2" fmla="*/ 46 w 161"/>
                  <a:gd name="T3" fmla="*/ 56 h 192"/>
                  <a:gd name="T4" fmla="*/ 83 w 161"/>
                  <a:gd name="T5" fmla="*/ 36 h 192"/>
                  <a:gd name="T6" fmla="*/ 139 w 161"/>
                  <a:gd name="T7" fmla="*/ 49 h 192"/>
                  <a:gd name="T8" fmla="*/ 140 w 161"/>
                  <a:gd name="T9" fmla="*/ 49 h 192"/>
                  <a:gd name="T10" fmla="*/ 145 w 161"/>
                  <a:gd name="T11" fmla="*/ 47 h 192"/>
                  <a:gd name="T12" fmla="*/ 156 w 161"/>
                  <a:gd name="T13" fmla="*/ 25 h 192"/>
                  <a:gd name="T14" fmla="*/ 156 w 161"/>
                  <a:gd name="T15" fmla="*/ 23 h 192"/>
                  <a:gd name="T16" fmla="*/ 153 w 161"/>
                  <a:gd name="T17" fmla="*/ 18 h 192"/>
                  <a:gd name="T18" fmla="*/ 152 w 161"/>
                  <a:gd name="T19" fmla="*/ 17 h 192"/>
                  <a:gd name="T20" fmla="*/ 81 w 161"/>
                  <a:gd name="T21" fmla="*/ 0 h 192"/>
                  <a:gd name="T22" fmla="*/ 7 w 161"/>
                  <a:gd name="T23" fmla="*/ 57 h 192"/>
                  <a:gd name="T24" fmla="*/ 25 w 161"/>
                  <a:gd name="T25" fmla="*/ 96 h 192"/>
                  <a:gd name="T26" fmla="*/ 80 w 161"/>
                  <a:gd name="T27" fmla="*/ 113 h 192"/>
                  <a:gd name="T28" fmla="*/ 122 w 161"/>
                  <a:gd name="T29" fmla="*/ 133 h 192"/>
                  <a:gd name="T30" fmla="*/ 78 w 161"/>
                  <a:gd name="T31" fmla="*/ 157 h 192"/>
                  <a:gd name="T32" fmla="*/ 22 w 161"/>
                  <a:gd name="T33" fmla="*/ 142 h 192"/>
                  <a:gd name="T34" fmla="*/ 18 w 161"/>
                  <a:gd name="T35" fmla="*/ 139 h 192"/>
                  <a:gd name="T36" fmla="*/ 15 w 161"/>
                  <a:gd name="T37" fmla="*/ 143 h 192"/>
                  <a:gd name="T38" fmla="*/ 2 w 161"/>
                  <a:gd name="T39" fmla="*/ 166 h 192"/>
                  <a:gd name="T40" fmla="*/ 0 w 161"/>
                  <a:gd name="T41" fmla="*/ 170 h 192"/>
                  <a:gd name="T42" fmla="*/ 4 w 161"/>
                  <a:gd name="T43" fmla="*/ 172 h 192"/>
                  <a:gd name="T44" fmla="*/ 77 w 161"/>
                  <a:gd name="T45" fmla="*/ 192 h 192"/>
                  <a:gd name="T46" fmla="*/ 161 w 161"/>
                  <a:gd name="T47" fmla="*/ 132 h 192"/>
                  <a:gd name="T48" fmla="*/ 90 w 161"/>
                  <a:gd name="T49" fmla="*/ 78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61" h="192">
                    <a:moveTo>
                      <a:pt x="90" y="78"/>
                    </a:moveTo>
                    <a:cubicBezTo>
                      <a:pt x="63" y="74"/>
                      <a:pt x="46" y="71"/>
                      <a:pt x="46" y="56"/>
                    </a:cubicBezTo>
                    <a:cubicBezTo>
                      <a:pt x="46" y="43"/>
                      <a:pt x="60" y="36"/>
                      <a:pt x="83" y="36"/>
                    </a:cubicBezTo>
                    <a:cubicBezTo>
                      <a:pt x="109" y="36"/>
                      <a:pt x="130" y="45"/>
                      <a:pt x="139" y="49"/>
                    </a:cubicBezTo>
                    <a:cubicBezTo>
                      <a:pt x="139" y="49"/>
                      <a:pt x="139" y="49"/>
                      <a:pt x="140" y="49"/>
                    </a:cubicBezTo>
                    <a:cubicBezTo>
                      <a:pt x="142" y="49"/>
                      <a:pt x="144" y="49"/>
                      <a:pt x="145" y="47"/>
                    </a:cubicBezTo>
                    <a:cubicBezTo>
                      <a:pt x="156" y="25"/>
                      <a:pt x="156" y="25"/>
                      <a:pt x="156" y="25"/>
                    </a:cubicBezTo>
                    <a:cubicBezTo>
                      <a:pt x="156" y="24"/>
                      <a:pt x="156" y="23"/>
                      <a:pt x="156" y="23"/>
                    </a:cubicBezTo>
                    <a:cubicBezTo>
                      <a:pt x="156" y="21"/>
                      <a:pt x="155" y="19"/>
                      <a:pt x="153" y="18"/>
                    </a:cubicBezTo>
                    <a:cubicBezTo>
                      <a:pt x="152" y="17"/>
                      <a:pt x="152" y="17"/>
                      <a:pt x="152" y="17"/>
                    </a:cubicBezTo>
                    <a:cubicBezTo>
                      <a:pt x="133" y="7"/>
                      <a:pt x="106" y="0"/>
                      <a:pt x="81" y="0"/>
                    </a:cubicBezTo>
                    <a:cubicBezTo>
                      <a:pt x="35" y="0"/>
                      <a:pt x="7" y="22"/>
                      <a:pt x="7" y="57"/>
                    </a:cubicBezTo>
                    <a:cubicBezTo>
                      <a:pt x="7" y="75"/>
                      <a:pt x="13" y="87"/>
                      <a:pt x="25" y="96"/>
                    </a:cubicBezTo>
                    <a:cubicBezTo>
                      <a:pt x="40" y="107"/>
                      <a:pt x="61" y="110"/>
                      <a:pt x="80" y="113"/>
                    </a:cubicBezTo>
                    <a:cubicBezTo>
                      <a:pt x="106" y="117"/>
                      <a:pt x="122" y="119"/>
                      <a:pt x="122" y="133"/>
                    </a:cubicBezTo>
                    <a:cubicBezTo>
                      <a:pt x="122" y="155"/>
                      <a:pt x="91" y="157"/>
                      <a:pt x="78" y="157"/>
                    </a:cubicBezTo>
                    <a:cubicBezTo>
                      <a:pt x="57" y="157"/>
                      <a:pt x="38" y="152"/>
                      <a:pt x="22" y="142"/>
                    </a:cubicBezTo>
                    <a:cubicBezTo>
                      <a:pt x="18" y="139"/>
                      <a:pt x="18" y="139"/>
                      <a:pt x="18" y="139"/>
                    </a:cubicBezTo>
                    <a:cubicBezTo>
                      <a:pt x="15" y="143"/>
                      <a:pt x="15" y="143"/>
                      <a:pt x="15" y="143"/>
                    </a:cubicBezTo>
                    <a:cubicBezTo>
                      <a:pt x="2" y="166"/>
                      <a:pt x="2" y="166"/>
                      <a:pt x="2" y="166"/>
                    </a:cubicBezTo>
                    <a:cubicBezTo>
                      <a:pt x="0" y="170"/>
                      <a:pt x="0" y="170"/>
                      <a:pt x="0" y="170"/>
                    </a:cubicBezTo>
                    <a:cubicBezTo>
                      <a:pt x="4" y="172"/>
                      <a:pt x="4" y="172"/>
                      <a:pt x="4" y="172"/>
                    </a:cubicBezTo>
                    <a:cubicBezTo>
                      <a:pt x="18" y="181"/>
                      <a:pt x="42" y="192"/>
                      <a:pt x="77" y="192"/>
                    </a:cubicBezTo>
                    <a:cubicBezTo>
                      <a:pt x="128" y="192"/>
                      <a:pt x="161" y="169"/>
                      <a:pt x="161" y="132"/>
                    </a:cubicBezTo>
                    <a:cubicBezTo>
                      <a:pt x="161" y="88"/>
                      <a:pt x="122" y="82"/>
                      <a:pt x="90" y="7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48" name="Freeform 14"/>
              <p:cNvSpPr>
                <a:spLocks/>
              </p:cNvSpPr>
              <p:nvPr/>
            </p:nvSpPr>
            <p:spPr bwMode="auto">
              <a:xfrm>
                <a:off x="1642427" y="437296"/>
                <a:ext cx="93943" cy="127448"/>
              </a:xfrm>
              <a:custGeom>
                <a:avLst/>
                <a:gdLst>
                  <a:gd name="T0" fmla="*/ 128 w 139"/>
                  <a:gd name="T1" fmla="*/ 103 h 188"/>
                  <a:gd name="T2" fmla="*/ 121 w 139"/>
                  <a:gd name="T3" fmla="*/ 110 h 188"/>
                  <a:gd name="T4" fmla="*/ 38 w 139"/>
                  <a:gd name="T5" fmla="*/ 110 h 188"/>
                  <a:gd name="T6" fmla="*/ 38 w 139"/>
                  <a:gd name="T7" fmla="*/ 153 h 188"/>
                  <a:gd name="T8" fmla="*/ 139 w 139"/>
                  <a:gd name="T9" fmla="*/ 153 h 188"/>
                  <a:gd name="T10" fmla="*/ 139 w 139"/>
                  <a:gd name="T11" fmla="*/ 188 h 188"/>
                  <a:gd name="T12" fmla="*/ 0 w 139"/>
                  <a:gd name="T13" fmla="*/ 188 h 188"/>
                  <a:gd name="T14" fmla="*/ 0 w 139"/>
                  <a:gd name="T15" fmla="*/ 18 h 188"/>
                  <a:gd name="T16" fmla="*/ 19 w 139"/>
                  <a:gd name="T17" fmla="*/ 0 h 188"/>
                  <a:gd name="T18" fmla="*/ 130 w 139"/>
                  <a:gd name="T19" fmla="*/ 0 h 188"/>
                  <a:gd name="T20" fmla="*/ 137 w 139"/>
                  <a:gd name="T21" fmla="*/ 6 h 188"/>
                  <a:gd name="T22" fmla="*/ 137 w 139"/>
                  <a:gd name="T23" fmla="*/ 27 h 188"/>
                  <a:gd name="T24" fmla="*/ 130 w 139"/>
                  <a:gd name="T25" fmla="*/ 34 h 188"/>
                  <a:gd name="T26" fmla="*/ 38 w 139"/>
                  <a:gd name="T27" fmla="*/ 34 h 188"/>
                  <a:gd name="T28" fmla="*/ 38 w 139"/>
                  <a:gd name="T29" fmla="*/ 75 h 188"/>
                  <a:gd name="T30" fmla="*/ 121 w 139"/>
                  <a:gd name="T31" fmla="*/ 75 h 188"/>
                  <a:gd name="T32" fmla="*/ 128 w 139"/>
                  <a:gd name="T33" fmla="*/ 82 h 188"/>
                  <a:gd name="T34" fmla="*/ 128 w 139"/>
                  <a:gd name="T35" fmla="*/ 103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9" h="188">
                    <a:moveTo>
                      <a:pt x="128" y="103"/>
                    </a:moveTo>
                    <a:cubicBezTo>
                      <a:pt x="128" y="107"/>
                      <a:pt x="124" y="110"/>
                      <a:pt x="121" y="110"/>
                    </a:cubicBezTo>
                    <a:cubicBezTo>
                      <a:pt x="38" y="110"/>
                      <a:pt x="38" y="110"/>
                      <a:pt x="38" y="110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139" y="153"/>
                      <a:pt x="139" y="153"/>
                      <a:pt x="139" y="153"/>
                    </a:cubicBezTo>
                    <a:cubicBezTo>
                      <a:pt x="139" y="188"/>
                      <a:pt x="139" y="188"/>
                      <a:pt x="139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9" y="0"/>
                      <a:pt x="19" y="0"/>
                    </a:cubicBezTo>
                    <a:cubicBezTo>
                      <a:pt x="130" y="0"/>
                      <a:pt x="130" y="0"/>
                      <a:pt x="130" y="0"/>
                    </a:cubicBezTo>
                    <a:cubicBezTo>
                      <a:pt x="134" y="0"/>
                      <a:pt x="137" y="2"/>
                      <a:pt x="137" y="6"/>
                    </a:cubicBezTo>
                    <a:cubicBezTo>
                      <a:pt x="137" y="27"/>
                      <a:pt x="137" y="27"/>
                      <a:pt x="137" y="27"/>
                    </a:cubicBezTo>
                    <a:cubicBezTo>
                      <a:pt x="137" y="32"/>
                      <a:pt x="134" y="34"/>
                      <a:pt x="130" y="34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121" y="75"/>
                      <a:pt x="121" y="75"/>
                      <a:pt x="121" y="75"/>
                    </a:cubicBezTo>
                    <a:cubicBezTo>
                      <a:pt x="124" y="75"/>
                      <a:pt x="128" y="77"/>
                      <a:pt x="128" y="82"/>
                    </a:cubicBezTo>
                    <a:lnTo>
                      <a:pt x="128" y="10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</p:grpSp>
      </p:grpSp>
      <p:cxnSp>
        <p:nvCxnSpPr>
          <p:cNvPr id="23" name="Straight Connector 22"/>
          <p:cNvCxnSpPr/>
          <p:nvPr userDrawn="1"/>
        </p:nvCxnSpPr>
        <p:spPr>
          <a:xfrm>
            <a:off x="2497138" y="1223963"/>
            <a:ext cx="628792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358546" y="1223963"/>
            <a:ext cx="1960792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38079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59533" y="4623978"/>
            <a:ext cx="1960468" cy="167386"/>
          </a:xfrm>
        </p:spPr>
        <p:txBody>
          <a:bodyPr anchor="b"/>
          <a:lstStyle>
            <a:lvl1pPr>
              <a:spcBef>
                <a:spcPts val="0"/>
              </a:spcBef>
              <a:defRPr sz="700" b="0"/>
            </a:lvl1pPr>
          </a:lstStyle>
          <a:p>
            <a:pPr lvl="0"/>
            <a:r>
              <a:rPr lang="en-US" dirty="0"/>
              <a:t>Source: enter text here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59533" y="519891"/>
            <a:ext cx="1959806" cy="355998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497138" y="1223962"/>
            <a:ext cx="3102317" cy="3567401"/>
          </a:xfrm>
        </p:spPr>
        <p:txBody>
          <a:bodyPr numCol="1"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5794794" y="1223962"/>
            <a:ext cx="2985082" cy="3567401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3772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or 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498125" y="1229397"/>
            <a:ext cx="4328045" cy="1964653"/>
          </a:xfrm>
        </p:spPr>
        <p:txBody>
          <a:bodyPr anchor="ctr"/>
          <a:lstStyle>
            <a:lvl1pPr algn="l">
              <a:lnSpc>
                <a:spcPct val="100000"/>
              </a:lnSpc>
              <a:defRPr sz="3600" b="1" cap="all"/>
            </a:lvl1pPr>
          </a:lstStyle>
          <a:p>
            <a:r>
              <a:rPr lang="en-US" dirty="0"/>
              <a:t>DIVIDER TIT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97139" y="3194050"/>
            <a:ext cx="4322762" cy="704850"/>
          </a:xfrm>
        </p:spPr>
        <p:txBody>
          <a:bodyPr anchor="t"/>
          <a:lstStyle>
            <a:lvl1pPr marL="0" indent="0">
              <a:buNone/>
              <a:defRPr sz="1400"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2497138" y="1414463"/>
            <a:ext cx="4322762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2497138" y="3006725"/>
            <a:ext cx="4322762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Group 20"/>
          <p:cNvGrpSpPr>
            <a:grpSpLocks noChangeAspect="1"/>
          </p:cNvGrpSpPr>
          <p:nvPr userDrawn="1"/>
        </p:nvGrpSpPr>
        <p:grpSpPr>
          <a:xfrm>
            <a:off x="7651248" y="4407954"/>
            <a:ext cx="1097216" cy="338034"/>
            <a:chOff x="5043330" y="2582427"/>
            <a:chExt cx="2714033" cy="836158"/>
          </a:xfrm>
        </p:grpSpPr>
        <p:pic>
          <p:nvPicPr>
            <p:cNvPr id="22" name="logo graphic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21205" y="2582427"/>
              <a:ext cx="836158" cy="836158"/>
            </a:xfrm>
            <a:prstGeom prst="rect">
              <a:avLst/>
            </a:prstGeom>
          </p:spPr>
        </p:pic>
        <p:grpSp>
          <p:nvGrpSpPr>
            <p:cNvPr id="23" name="letters"/>
            <p:cNvGrpSpPr/>
            <p:nvPr/>
          </p:nvGrpSpPr>
          <p:grpSpPr>
            <a:xfrm>
              <a:off x="5043330" y="2901718"/>
              <a:ext cx="1777426" cy="197580"/>
              <a:chOff x="566670" y="435864"/>
              <a:chExt cx="1169700" cy="130025"/>
            </a:xfrm>
            <a:solidFill>
              <a:schemeClr val="tx1"/>
            </a:solidFill>
          </p:grpSpPr>
          <p:sp>
            <p:nvSpPr>
              <p:cNvPr id="24" name="Freeform 6"/>
              <p:cNvSpPr>
                <a:spLocks/>
              </p:cNvSpPr>
              <p:nvPr/>
            </p:nvSpPr>
            <p:spPr bwMode="auto">
              <a:xfrm>
                <a:off x="566670" y="437296"/>
                <a:ext cx="146069" cy="127448"/>
              </a:xfrm>
              <a:custGeom>
                <a:avLst/>
                <a:gdLst>
                  <a:gd name="T0" fmla="*/ 216 w 216"/>
                  <a:gd name="T1" fmla="*/ 188 h 188"/>
                  <a:gd name="T2" fmla="*/ 178 w 216"/>
                  <a:gd name="T3" fmla="*/ 188 h 188"/>
                  <a:gd name="T4" fmla="*/ 178 w 216"/>
                  <a:gd name="T5" fmla="*/ 66 h 188"/>
                  <a:gd name="T6" fmla="*/ 113 w 216"/>
                  <a:gd name="T7" fmla="*/ 145 h 188"/>
                  <a:gd name="T8" fmla="*/ 103 w 216"/>
                  <a:gd name="T9" fmla="*/ 145 h 188"/>
                  <a:gd name="T10" fmla="*/ 38 w 216"/>
                  <a:gd name="T11" fmla="*/ 66 h 188"/>
                  <a:gd name="T12" fmla="*/ 38 w 216"/>
                  <a:gd name="T13" fmla="*/ 188 h 188"/>
                  <a:gd name="T14" fmla="*/ 0 w 216"/>
                  <a:gd name="T15" fmla="*/ 188 h 188"/>
                  <a:gd name="T16" fmla="*/ 0 w 216"/>
                  <a:gd name="T17" fmla="*/ 20 h 188"/>
                  <a:gd name="T18" fmla="*/ 20 w 216"/>
                  <a:gd name="T19" fmla="*/ 0 h 188"/>
                  <a:gd name="T20" fmla="*/ 20 w 216"/>
                  <a:gd name="T21" fmla="*/ 0 h 188"/>
                  <a:gd name="T22" fmla="*/ 38 w 216"/>
                  <a:gd name="T23" fmla="*/ 9 h 188"/>
                  <a:gd name="T24" fmla="*/ 108 w 216"/>
                  <a:gd name="T25" fmla="*/ 94 h 188"/>
                  <a:gd name="T26" fmla="*/ 182 w 216"/>
                  <a:gd name="T27" fmla="*/ 6 h 188"/>
                  <a:gd name="T28" fmla="*/ 196 w 216"/>
                  <a:gd name="T29" fmla="*/ 0 h 188"/>
                  <a:gd name="T30" fmla="*/ 196 w 216"/>
                  <a:gd name="T31" fmla="*/ 0 h 188"/>
                  <a:gd name="T32" fmla="*/ 216 w 216"/>
                  <a:gd name="T33" fmla="*/ 19 h 188"/>
                  <a:gd name="T34" fmla="*/ 216 w 216"/>
                  <a:gd name="T35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16" h="188">
                    <a:moveTo>
                      <a:pt x="216" y="188"/>
                    </a:moveTo>
                    <a:cubicBezTo>
                      <a:pt x="178" y="188"/>
                      <a:pt x="178" y="188"/>
                      <a:pt x="178" y="188"/>
                    </a:cubicBezTo>
                    <a:cubicBezTo>
                      <a:pt x="178" y="66"/>
                      <a:pt x="178" y="66"/>
                      <a:pt x="178" y="66"/>
                    </a:cubicBezTo>
                    <a:cubicBezTo>
                      <a:pt x="113" y="145"/>
                      <a:pt x="113" y="145"/>
                      <a:pt x="113" y="145"/>
                    </a:cubicBezTo>
                    <a:cubicBezTo>
                      <a:pt x="110" y="148"/>
                      <a:pt x="106" y="148"/>
                      <a:pt x="103" y="145"/>
                    </a:cubicBezTo>
                    <a:cubicBezTo>
                      <a:pt x="38" y="66"/>
                      <a:pt x="38" y="66"/>
                      <a:pt x="38" y="66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8" y="0"/>
                      <a:pt x="32" y="3"/>
                      <a:pt x="38" y="9"/>
                    </a:cubicBezTo>
                    <a:cubicBezTo>
                      <a:pt x="108" y="94"/>
                      <a:pt x="108" y="94"/>
                      <a:pt x="108" y="94"/>
                    </a:cubicBezTo>
                    <a:cubicBezTo>
                      <a:pt x="182" y="6"/>
                      <a:pt x="182" y="6"/>
                      <a:pt x="182" y="6"/>
                    </a:cubicBezTo>
                    <a:cubicBezTo>
                      <a:pt x="185" y="2"/>
                      <a:pt x="190" y="0"/>
                      <a:pt x="196" y="0"/>
                    </a:cubicBezTo>
                    <a:cubicBezTo>
                      <a:pt x="196" y="0"/>
                      <a:pt x="196" y="0"/>
                      <a:pt x="196" y="0"/>
                    </a:cubicBezTo>
                    <a:cubicBezTo>
                      <a:pt x="207" y="0"/>
                      <a:pt x="216" y="8"/>
                      <a:pt x="216" y="19"/>
                    </a:cubicBezTo>
                    <a:lnTo>
                      <a:pt x="216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25" name="Freeform 7"/>
              <p:cNvSpPr>
                <a:spLocks noEditPoints="1"/>
              </p:cNvSpPr>
              <p:nvPr/>
            </p:nvSpPr>
            <p:spPr bwMode="auto">
              <a:xfrm>
                <a:off x="1350862" y="436723"/>
                <a:ext cx="146069" cy="128020"/>
              </a:xfrm>
              <a:custGeom>
                <a:avLst/>
                <a:gdLst>
                  <a:gd name="T0" fmla="*/ 0 w 216"/>
                  <a:gd name="T1" fmla="*/ 189 h 189"/>
                  <a:gd name="T2" fmla="*/ 42 w 216"/>
                  <a:gd name="T3" fmla="*/ 189 h 189"/>
                  <a:gd name="T4" fmla="*/ 66 w 216"/>
                  <a:gd name="T5" fmla="*/ 138 h 189"/>
                  <a:gd name="T6" fmla="*/ 148 w 216"/>
                  <a:gd name="T7" fmla="*/ 138 h 189"/>
                  <a:gd name="T8" fmla="*/ 174 w 216"/>
                  <a:gd name="T9" fmla="*/ 189 h 189"/>
                  <a:gd name="T10" fmla="*/ 216 w 216"/>
                  <a:gd name="T11" fmla="*/ 189 h 189"/>
                  <a:gd name="T12" fmla="*/ 124 w 216"/>
                  <a:gd name="T13" fmla="*/ 9 h 189"/>
                  <a:gd name="T14" fmla="*/ 106 w 216"/>
                  <a:gd name="T15" fmla="*/ 0 h 189"/>
                  <a:gd name="T16" fmla="*/ 106 w 216"/>
                  <a:gd name="T17" fmla="*/ 0 h 189"/>
                  <a:gd name="T18" fmla="*/ 89 w 216"/>
                  <a:gd name="T19" fmla="*/ 9 h 189"/>
                  <a:gd name="T20" fmla="*/ 0 w 216"/>
                  <a:gd name="T21" fmla="*/ 189 h 189"/>
                  <a:gd name="T22" fmla="*/ 106 w 216"/>
                  <a:gd name="T23" fmla="*/ 55 h 189"/>
                  <a:gd name="T24" fmla="*/ 133 w 216"/>
                  <a:gd name="T25" fmla="*/ 108 h 189"/>
                  <a:gd name="T26" fmla="*/ 81 w 216"/>
                  <a:gd name="T27" fmla="*/ 108 h 189"/>
                  <a:gd name="T28" fmla="*/ 106 w 216"/>
                  <a:gd name="T29" fmla="*/ 55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16" h="189">
                    <a:moveTo>
                      <a:pt x="0" y="189"/>
                    </a:moveTo>
                    <a:cubicBezTo>
                      <a:pt x="42" y="189"/>
                      <a:pt x="42" y="189"/>
                      <a:pt x="42" y="189"/>
                    </a:cubicBezTo>
                    <a:cubicBezTo>
                      <a:pt x="66" y="138"/>
                      <a:pt x="66" y="138"/>
                      <a:pt x="66" y="138"/>
                    </a:cubicBezTo>
                    <a:cubicBezTo>
                      <a:pt x="148" y="138"/>
                      <a:pt x="148" y="138"/>
                      <a:pt x="148" y="138"/>
                    </a:cubicBezTo>
                    <a:cubicBezTo>
                      <a:pt x="174" y="189"/>
                      <a:pt x="174" y="189"/>
                      <a:pt x="174" y="189"/>
                    </a:cubicBezTo>
                    <a:cubicBezTo>
                      <a:pt x="216" y="189"/>
                      <a:pt x="216" y="189"/>
                      <a:pt x="216" y="189"/>
                    </a:cubicBezTo>
                    <a:cubicBezTo>
                      <a:pt x="124" y="9"/>
                      <a:pt x="124" y="9"/>
                      <a:pt x="124" y="9"/>
                    </a:cubicBezTo>
                    <a:cubicBezTo>
                      <a:pt x="120" y="3"/>
                      <a:pt x="114" y="0"/>
                      <a:pt x="106" y="0"/>
                    </a:cubicBezTo>
                    <a:cubicBezTo>
                      <a:pt x="106" y="0"/>
                      <a:pt x="106" y="0"/>
                      <a:pt x="106" y="0"/>
                    </a:cubicBezTo>
                    <a:cubicBezTo>
                      <a:pt x="99" y="0"/>
                      <a:pt x="93" y="3"/>
                      <a:pt x="89" y="9"/>
                    </a:cubicBezTo>
                    <a:lnTo>
                      <a:pt x="0" y="189"/>
                    </a:lnTo>
                    <a:close/>
                    <a:moveTo>
                      <a:pt x="106" y="55"/>
                    </a:moveTo>
                    <a:cubicBezTo>
                      <a:pt x="133" y="108"/>
                      <a:pt x="133" y="108"/>
                      <a:pt x="133" y="108"/>
                    </a:cubicBezTo>
                    <a:cubicBezTo>
                      <a:pt x="81" y="108"/>
                      <a:pt x="81" y="108"/>
                      <a:pt x="81" y="108"/>
                    </a:cubicBezTo>
                    <a:lnTo>
                      <a:pt x="106" y="5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26" name="Freeform 8"/>
              <p:cNvSpPr>
                <a:spLocks/>
              </p:cNvSpPr>
              <p:nvPr/>
            </p:nvSpPr>
            <p:spPr bwMode="auto">
              <a:xfrm>
                <a:off x="789211" y="437296"/>
                <a:ext cx="128598" cy="127448"/>
              </a:xfrm>
              <a:custGeom>
                <a:avLst/>
                <a:gdLst>
                  <a:gd name="T0" fmla="*/ 190 w 190"/>
                  <a:gd name="T1" fmla="*/ 188 h 188"/>
                  <a:gd name="T2" fmla="*/ 163 w 190"/>
                  <a:gd name="T3" fmla="*/ 188 h 188"/>
                  <a:gd name="T4" fmla="*/ 38 w 190"/>
                  <a:gd name="T5" fmla="*/ 62 h 188"/>
                  <a:gd name="T6" fmla="*/ 38 w 190"/>
                  <a:gd name="T7" fmla="*/ 188 h 188"/>
                  <a:gd name="T8" fmla="*/ 0 w 190"/>
                  <a:gd name="T9" fmla="*/ 188 h 188"/>
                  <a:gd name="T10" fmla="*/ 0 w 190"/>
                  <a:gd name="T11" fmla="*/ 20 h 188"/>
                  <a:gd name="T12" fmla="*/ 21 w 190"/>
                  <a:gd name="T13" fmla="*/ 0 h 188"/>
                  <a:gd name="T14" fmla="*/ 21 w 190"/>
                  <a:gd name="T15" fmla="*/ 0 h 188"/>
                  <a:gd name="T16" fmla="*/ 36 w 190"/>
                  <a:gd name="T17" fmla="*/ 6 h 188"/>
                  <a:gd name="T18" fmla="*/ 152 w 190"/>
                  <a:gd name="T19" fmla="*/ 123 h 188"/>
                  <a:gd name="T20" fmla="*/ 152 w 190"/>
                  <a:gd name="T21" fmla="*/ 12 h 188"/>
                  <a:gd name="T22" fmla="*/ 165 w 190"/>
                  <a:gd name="T23" fmla="*/ 0 h 188"/>
                  <a:gd name="T24" fmla="*/ 178 w 190"/>
                  <a:gd name="T25" fmla="*/ 0 h 188"/>
                  <a:gd name="T26" fmla="*/ 190 w 190"/>
                  <a:gd name="T27" fmla="*/ 12 h 188"/>
                  <a:gd name="T28" fmla="*/ 190 w 190"/>
                  <a:gd name="T29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0" h="188">
                    <a:moveTo>
                      <a:pt x="190" y="188"/>
                    </a:moveTo>
                    <a:cubicBezTo>
                      <a:pt x="163" y="188"/>
                      <a:pt x="163" y="188"/>
                      <a:pt x="163" y="188"/>
                    </a:cubicBezTo>
                    <a:cubicBezTo>
                      <a:pt x="38" y="62"/>
                      <a:pt x="38" y="62"/>
                      <a:pt x="38" y="62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1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7" y="0"/>
                      <a:pt x="32" y="2"/>
                      <a:pt x="36" y="6"/>
                    </a:cubicBezTo>
                    <a:cubicBezTo>
                      <a:pt x="152" y="123"/>
                      <a:pt x="152" y="123"/>
                      <a:pt x="152" y="123"/>
                    </a:cubicBezTo>
                    <a:cubicBezTo>
                      <a:pt x="152" y="12"/>
                      <a:pt x="152" y="12"/>
                      <a:pt x="152" y="12"/>
                    </a:cubicBezTo>
                    <a:cubicBezTo>
                      <a:pt x="152" y="5"/>
                      <a:pt x="158" y="0"/>
                      <a:pt x="165" y="0"/>
                    </a:cubicBezTo>
                    <a:cubicBezTo>
                      <a:pt x="178" y="0"/>
                      <a:pt x="178" y="0"/>
                      <a:pt x="178" y="0"/>
                    </a:cubicBezTo>
                    <a:cubicBezTo>
                      <a:pt x="185" y="0"/>
                      <a:pt x="190" y="5"/>
                      <a:pt x="190" y="12"/>
                    </a:cubicBezTo>
                    <a:lnTo>
                      <a:pt x="190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27" name="Freeform 9"/>
              <p:cNvSpPr>
                <a:spLocks noEditPoints="1"/>
              </p:cNvSpPr>
              <p:nvPr/>
            </p:nvSpPr>
            <p:spPr bwMode="auto">
              <a:xfrm>
                <a:off x="943586" y="437296"/>
                <a:ext cx="127739" cy="127448"/>
              </a:xfrm>
              <a:custGeom>
                <a:avLst/>
                <a:gdLst>
                  <a:gd name="T0" fmla="*/ 117 w 189"/>
                  <a:gd name="T1" fmla="*/ 4 h 188"/>
                  <a:gd name="T2" fmla="*/ 72 w 189"/>
                  <a:gd name="T3" fmla="*/ 0 h 188"/>
                  <a:gd name="T4" fmla="*/ 19 w 189"/>
                  <a:gd name="T5" fmla="*/ 0 h 188"/>
                  <a:gd name="T6" fmla="*/ 0 w 189"/>
                  <a:gd name="T7" fmla="*/ 18 h 188"/>
                  <a:gd name="T8" fmla="*/ 0 w 189"/>
                  <a:gd name="T9" fmla="*/ 188 h 188"/>
                  <a:gd name="T10" fmla="*/ 62 w 189"/>
                  <a:gd name="T11" fmla="*/ 188 h 188"/>
                  <a:gd name="T12" fmla="*/ 115 w 189"/>
                  <a:gd name="T13" fmla="*/ 182 h 188"/>
                  <a:gd name="T14" fmla="*/ 189 w 189"/>
                  <a:gd name="T15" fmla="*/ 91 h 188"/>
                  <a:gd name="T16" fmla="*/ 117 w 189"/>
                  <a:gd name="T17" fmla="*/ 4 h 188"/>
                  <a:gd name="T18" fmla="*/ 105 w 189"/>
                  <a:gd name="T19" fmla="*/ 148 h 188"/>
                  <a:gd name="T20" fmla="*/ 62 w 189"/>
                  <a:gd name="T21" fmla="*/ 153 h 188"/>
                  <a:gd name="T22" fmla="*/ 62 w 189"/>
                  <a:gd name="T23" fmla="*/ 153 h 188"/>
                  <a:gd name="T24" fmla="*/ 38 w 189"/>
                  <a:gd name="T25" fmla="*/ 153 h 188"/>
                  <a:gd name="T26" fmla="*/ 38 w 189"/>
                  <a:gd name="T27" fmla="*/ 153 h 188"/>
                  <a:gd name="T28" fmla="*/ 38 w 189"/>
                  <a:gd name="T29" fmla="*/ 34 h 188"/>
                  <a:gd name="T30" fmla="*/ 38 w 189"/>
                  <a:gd name="T31" fmla="*/ 34 h 188"/>
                  <a:gd name="T32" fmla="*/ 68 w 189"/>
                  <a:gd name="T33" fmla="*/ 34 h 188"/>
                  <a:gd name="T34" fmla="*/ 68 w 189"/>
                  <a:gd name="T35" fmla="*/ 34 h 188"/>
                  <a:gd name="T36" fmla="*/ 107 w 189"/>
                  <a:gd name="T37" fmla="*/ 38 h 188"/>
                  <a:gd name="T38" fmla="*/ 150 w 189"/>
                  <a:gd name="T39" fmla="*/ 91 h 188"/>
                  <a:gd name="T40" fmla="*/ 105 w 189"/>
                  <a:gd name="T41" fmla="*/ 14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89" h="188">
                    <a:moveTo>
                      <a:pt x="117" y="4"/>
                    </a:moveTo>
                    <a:cubicBezTo>
                      <a:pt x="104" y="1"/>
                      <a:pt x="89" y="0"/>
                      <a:pt x="72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9" y="0"/>
                      <a:pt x="0" y="8"/>
                      <a:pt x="0" y="1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62" y="188"/>
                      <a:pt x="62" y="188"/>
                      <a:pt x="62" y="188"/>
                    </a:cubicBezTo>
                    <a:cubicBezTo>
                      <a:pt x="84" y="188"/>
                      <a:pt x="100" y="186"/>
                      <a:pt x="115" y="182"/>
                    </a:cubicBezTo>
                    <a:cubicBezTo>
                      <a:pt x="163" y="168"/>
                      <a:pt x="189" y="136"/>
                      <a:pt x="189" y="91"/>
                    </a:cubicBezTo>
                    <a:cubicBezTo>
                      <a:pt x="189" y="46"/>
                      <a:pt x="164" y="15"/>
                      <a:pt x="117" y="4"/>
                    </a:cubicBezTo>
                    <a:close/>
                    <a:moveTo>
                      <a:pt x="105" y="148"/>
                    </a:moveTo>
                    <a:cubicBezTo>
                      <a:pt x="94" y="151"/>
                      <a:pt x="79" y="153"/>
                      <a:pt x="62" y="153"/>
                    </a:cubicBezTo>
                    <a:cubicBezTo>
                      <a:pt x="62" y="153"/>
                      <a:pt x="62" y="153"/>
                      <a:pt x="62" y="153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68" y="34"/>
                      <a:pt x="68" y="34"/>
                      <a:pt x="68" y="34"/>
                    </a:cubicBezTo>
                    <a:cubicBezTo>
                      <a:pt x="68" y="34"/>
                      <a:pt x="68" y="34"/>
                      <a:pt x="68" y="34"/>
                    </a:cubicBezTo>
                    <a:cubicBezTo>
                      <a:pt x="86" y="34"/>
                      <a:pt x="97" y="35"/>
                      <a:pt x="107" y="38"/>
                    </a:cubicBezTo>
                    <a:cubicBezTo>
                      <a:pt x="136" y="46"/>
                      <a:pt x="150" y="63"/>
                      <a:pt x="150" y="91"/>
                    </a:cubicBezTo>
                    <a:cubicBezTo>
                      <a:pt x="150" y="120"/>
                      <a:pt x="135" y="139"/>
                      <a:pt x="105" y="14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28" name="Freeform 10"/>
              <p:cNvSpPr>
                <a:spLocks noEditPoints="1"/>
              </p:cNvSpPr>
              <p:nvPr/>
            </p:nvSpPr>
            <p:spPr bwMode="auto">
              <a:xfrm>
                <a:off x="1513256" y="437296"/>
                <a:ext cx="110841" cy="127448"/>
              </a:xfrm>
              <a:custGeom>
                <a:avLst/>
                <a:gdLst>
                  <a:gd name="T0" fmla="*/ 113 w 164"/>
                  <a:gd name="T1" fmla="*/ 113 h 188"/>
                  <a:gd name="T2" fmla="*/ 158 w 164"/>
                  <a:gd name="T3" fmla="*/ 58 h 188"/>
                  <a:gd name="T4" fmla="*/ 82 w 164"/>
                  <a:gd name="T5" fmla="*/ 0 h 188"/>
                  <a:gd name="T6" fmla="*/ 19 w 164"/>
                  <a:gd name="T7" fmla="*/ 0 h 188"/>
                  <a:gd name="T8" fmla="*/ 0 w 164"/>
                  <a:gd name="T9" fmla="*/ 18 h 188"/>
                  <a:gd name="T10" fmla="*/ 0 w 164"/>
                  <a:gd name="T11" fmla="*/ 188 h 188"/>
                  <a:gd name="T12" fmla="*/ 38 w 164"/>
                  <a:gd name="T13" fmla="*/ 188 h 188"/>
                  <a:gd name="T14" fmla="*/ 38 w 164"/>
                  <a:gd name="T15" fmla="*/ 118 h 188"/>
                  <a:gd name="T16" fmla="*/ 72 w 164"/>
                  <a:gd name="T17" fmla="*/ 118 h 188"/>
                  <a:gd name="T18" fmla="*/ 119 w 164"/>
                  <a:gd name="T19" fmla="*/ 188 h 188"/>
                  <a:gd name="T20" fmla="*/ 164 w 164"/>
                  <a:gd name="T21" fmla="*/ 188 h 188"/>
                  <a:gd name="T22" fmla="*/ 113 w 164"/>
                  <a:gd name="T23" fmla="*/ 113 h 188"/>
                  <a:gd name="T24" fmla="*/ 38 w 164"/>
                  <a:gd name="T25" fmla="*/ 83 h 188"/>
                  <a:gd name="T26" fmla="*/ 38 w 164"/>
                  <a:gd name="T27" fmla="*/ 34 h 188"/>
                  <a:gd name="T28" fmla="*/ 85 w 164"/>
                  <a:gd name="T29" fmla="*/ 34 h 188"/>
                  <a:gd name="T30" fmla="*/ 118 w 164"/>
                  <a:gd name="T31" fmla="*/ 59 h 188"/>
                  <a:gd name="T32" fmla="*/ 77 w 164"/>
                  <a:gd name="T33" fmla="*/ 83 h 188"/>
                  <a:gd name="T34" fmla="*/ 38 w 164"/>
                  <a:gd name="T35" fmla="*/ 83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4" h="188">
                    <a:moveTo>
                      <a:pt x="113" y="113"/>
                    </a:moveTo>
                    <a:cubicBezTo>
                      <a:pt x="142" y="105"/>
                      <a:pt x="158" y="86"/>
                      <a:pt x="158" y="58"/>
                    </a:cubicBezTo>
                    <a:cubicBezTo>
                      <a:pt x="158" y="22"/>
                      <a:pt x="129" y="0"/>
                      <a:pt x="82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8" y="0"/>
                      <a:pt x="0" y="8"/>
                      <a:pt x="0" y="1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38" y="118"/>
                      <a:pt x="38" y="118"/>
                      <a:pt x="38" y="118"/>
                    </a:cubicBezTo>
                    <a:cubicBezTo>
                      <a:pt x="72" y="118"/>
                      <a:pt x="72" y="118"/>
                      <a:pt x="72" y="118"/>
                    </a:cubicBezTo>
                    <a:cubicBezTo>
                      <a:pt x="119" y="188"/>
                      <a:pt x="119" y="188"/>
                      <a:pt x="119" y="188"/>
                    </a:cubicBezTo>
                    <a:cubicBezTo>
                      <a:pt x="164" y="188"/>
                      <a:pt x="164" y="188"/>
                      <a:pt x="164" y="188"/>
                    </a:cubicBezTo>
                    <a:lnTo>
                      <a:pt x="113" y="113"/>
                    </a:lnTo>
                    <a:close/>
                    <a:moveTo>
                      <a:pt x="38" y="83"/>
                    </a:moveTo>
                    <a:cubicBezTo>
                      <a:pt x="38" y="34"/>
                      <a:pt x="38" y="34"/>
                      <a:pt x="38" y="34"/>
                    </a:cubicBezTo>
                    <a:cubicBezTo>
                      <a:pt x="85" y="34"/>
                      <a:pt x="85" y="34"/>
                      <a:pt x="85" y="34"/>
                    </a:cubicBezTo>
                    <a:cubicBezTo>
                      <a:pt x="98" y="34"/>
                      <a:pt x="118" y="38"/>
                      <a:pt x="118" y="59"/>
                    </a:cubicBezTo>
                    <a:cubicBezTo>
                      <a:pt x="118" y="69"/>
                      <a:pt x="114" y="83"/>
                      <a:pt x="77" y="83"/>
                    </a:cubicBezTo>
                    <a:lnTo>
                      <a:pt x="38" y="8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29" name="Freeform 11"/>
              <p:cNvSpPr>
                <a:spLocks/>
              </p:cNvSpPr>
              <p:nvPr/>
            </p:nvSpPr>
            <p:spPr bwMode="auto">
              <a:xfrm>
                <a:off x="738516" y="437296"/>
                <a:ext cx="25777" cy="127448"/>
              </a:xfrm>
              <a:custGeom>
                <a:avLst/>
                <a:gdLst>
                  <a:gd name="T0" fmla="*/ 0 w 38"/>
                  <a:gd name="T1" fmla="*/ 188 h 188"/>
                  <a:gd name="T2" fmla="*/ 38 w 38"/>
                  <a:gd name="T3" fmla="*/ 188 h 188"/>
                  <a:gd name="T4" fmla="*/ 38 w 38"/>
                  <a:gd name="T5" fmla="*/ 12 h 188"/>
                  <a:gd name="T6" fmla="*/ 25 w 38"/>
                  <a:gd name="T7" fmla="*/ 0 h 188"/>
                  <a:gd name="T8" fmla="*/ 13 w 38"/>
                  <a:gd name="T9" fmla="*/ 0 h 188"/>
                  <a:gd name="T10" fmla="*/ 0 w 38"/>
                  <a:gd name="T11" fmla="*/ 12 h 188"/>
                  <a:gd name="T12" fmla="*/ 0 w 38"/>
                  <a:gd name="T13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" h="188">
                    <a:moveTo>
                      <a:pt x="0" y="188"/>
                    </a:moveTo>
                    <a:cubicBezTo>
                      <a:pt x="38" y="188"/>
                      <a:pt x="38" y="188"/>
                      <a:pt x="38" y="188"/>
                    </a:cubicBezTo>
                    <a:cubicBezTo>
                      <a:pt x="38" y="12"/>
                      <a:pt x="38" y="12"/>
                      <a:pt x="38" y="12"/>
                    </a:cubicBezTo>
                    <a:cubicBezTo>
                      <a:pt x="38" y="5"/>
                      <a:pt x="32" y="0"/>
                      <a:pt x="25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0" y="5"/>
                      <a:pt x="0" y="12"/>
                    </a:cubicBezTo>
                    <a:lnTo>
                      <a:pt x="0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0" name="Freeform 12"/>
              <p:cNvSpPr>
                <a:spLocks/>
              </p:cNvSpPr>
              <p:nvPr/>
            </p:nvSpPr>
            <p:spPr bwMode="auto">
              <a:xfrm>
                <a:off x="1217394" y="437296"/>
                <a:ext cx="118001" cy="127448"/>
              </a:xfrm>
              <a:custGeom>
                <a:avLst/>
                <a:gdLst>
                  <a:gd name="T0" fmla="*/ 174 w 174"/>
                  <a:gd name="T1" fmla="*/ 188 h 188"/>
                  <a:gd name="T2" fmla="*/ 137 w 174"/>
                  <a:gd name="T3" fmla="*/ 188 h 188"/>
                  <a:gd name="T4" fmla="*/ 137 w 174"/>
                  <a:gd name="T5" fmla="*/ 110 h 188"/>
                  <a:gd name="T6" fmla="*/ 38 w 174"/>
                  <a:gd name="T7" fmla="*/ 110 h 188"/>
                  <a:gd name="T8" fmla="*/ 38 w 174"/>
                  <a:gd name="T9" fmla="*/ 188 h 188"/>
                  <a:gd name="T10" fmla="*/ 0 w 174"/>
                  <a:gd name="T11" fmla="*/ 188 h 188"/>
                  <a:gd name="T12" fmla="*/ 0 w 174"/>
                  <a:gd name="T13" fmla="*/ 12 h 188"/>
                  <a:gd name="T14" fmla="*/ 13 w 174"/>
                  <a:gd name="T15" fmla="*/ 0 h 188"/>
                  <a:gd name="T16" fmla="*/ 25 w 174"/>
                  <a:gd name="T17" fmla="*/ 0 h 188"/>
                  <a:gd name="T18" fmla="*/ 38 w 174"/>
                  <a:gd name="T19" fmla="*/ 12 h 188"/>
                  <a:gd name="T20" fmla="*/ 38 w 174"/>
                  <a:gd name="T21" fmla="*/ 75 h 188"/>
                  <a:gd name="T22" fmla="*/ 137 w 174"/>
                  <a:gd name="T23" fmla="*/ 75 h 188"/>
                  <a:gd name="T24" fmla="*/ 137 w 174"/>
                  <a:gd name="T25" fmla="*/ 12 h 188"/>
                  <a:gd name="T26" fmla="*/ 149 w 174"/>
                  <a:gd name="T27" fmla="*/ 0 h 188"/>
                  <a:gd name="T28" fmla="*/ 162 w 174"/>
                  <a:gd name="T29" fmla="*/ 0 h 188"/>
                  <a:gd name="T30" fmla="*/ 174 w 174"/>
                  <a:gd name="T31" fmla="*/ 12 h 188"/>
                  <a:gd name="T32" fmla="*/ 174 w 174"/>
                  <a:gd name="T33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4" h="188">
                    <a:moveTo>
                      <a:pt x="174" y="188"/>
                    </a:moveTo>
                    <a:cubicBezTo>
                      <a:pt x="137" y="188"/>
                      <a:pt x="137" y="188"/>
                      <a:pt x="137" y="188"/>
                    </a:cubicBezTo>
                    <a:cubicBezTo>
                      <a:pt x="137" y="110"/>
                      <a:pt x="137" y="110"/>
                      <a:pt x="137" y="110"/>
                    </a:cubicBezTo>
                    <a:cubicBezTo>
                      <a:pt x="38" y="110"/>
                      <a:pt x="38" y="110"/>
                      <a:pt x="38" y="110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6" y="0"/>
                      <a:pt x="13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32" y="0"/>
                      <a:pt x="38" y="5"/>
                      <a:pt x="38" y="12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137" y="75"/>
                      <a:pt x="137" y="75"/>
                      <a:pt x="137" y="75"/>
                    </a:cubicBezTo>
                    <a:cubicBezTo>
                      <a:pt x="137" y="12"/>
                      <a:pt x="137" y="12"/>
                      <a:pt x="137" y="12"/>
                    </a:cubicBezTo>
                    <a:cubicBezTo>
                      <a:pt x="137" y="5"/>
                      <a:pt x="142" y="0"/>
                      <a:pt x="149" y="0"/>
                    </a:cubicBezTo>
                    <a:cubicBezTo>
                      <a:pt x="162" y="0"/>
                      <a:pt x="162" y="0"/>
                      <a:pt x="162" y="0"/>
                    </a:cubicBezTo>
                    <a:cubicBezTo>
                      <a:pt x="169" y="0"/>
                      <a:pt x="174" y="5"/>
                      <a:pt x="174" y="12"/>
                    </a:cubicBezTo>
                    <a:lnTo>
                      <a:pt x="174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1" name="Freeform 13"/>
              <p:cNvSpPr>
                <a:spLocks/>
              </p:cNvSpPr>
              <p:nvPr/>
            </p:nvSpPr>
            <p:spPr bwMode="auto">
              <a:xfrm>
                <a:off x="1085646" y="435864"/>
                <a:ext cx="108836" cy="130025"/>
              </a:xfrm>
              <a:custGeom>
                <a:avLst/>
                <a:gdLst>
                  <a:gd name="T0" fmla="*/ 90 w 161"/>
                  <a:gd name="T1" fmla="*/ 78 h 192"/>
                  <a:gd name="T2" fmla="*/ 46 w 161"/>
                  <a:gd name="T3" fmla="*/ 56 h 192"/>
                  <a:gd name="T4" fmla="*/ 83 w 161"/>
                  <a:gd name="T5" fmla="*/ 36 h 192"/>
                  <a:gd name="T6" fmla="*/ 139 w 161"/>
                  <a:gd name="T7" fmla="*/ 49 h 192"/>
                  <a:gd name="T8" fmla="*/ 140 w 161"/>
                  <a:gd name="T9" fmla="*/ 49 h 192"/>
                  <a:gd name="T10" fmla="*/ 145 w 161"/>
                  <a:gd name="T11" fmla="*/ 47 h 192"/>
                  <a:gd name="T12" fmla="*/ 156 w 161"/>
                  <a:gd name="T13" fmla="*/ 25 h 192"/>
                  <a:gd name="T14" fmla="*/ 156 w 161"/>
                  <a:gd name="T15" fmla="*/ 23 h 192"/>
                  <a:gd name="T16" fmla="*/ 153 w 161"/>
                  <a:gd name="T17" fmla="*/ 18 h 192"/>
                  <a:gd name="T18" fmla="*/ 152 w 161"/>
                  <a:gd name="T19" fmla="*/ 17 h 192"/>
                  <a:gd name="T20" fmla="*/ 81 w 161"/>
                  <a:gd name="T21" fmla="*/ 0 h 192"/>
                  <a:gd name="T22" fmla="*/ 7 w 161"/>
                  <a:gd name="T23" fmla="*/ 57 h 192"/>
                  <a:gd name="T24" fmla="*/ 25 w 161"/>
                  <a:gd name="T25" fmla="*/ 96 h 192"/>
                  <a:gd name="T26" fmla="*/ 80 w 161"/>
                  <a:gd name="T27" fmla="*/ 113 h 192"/>
                  <a:gd name="T28" fmla="*/ 122 w 161"/>
                  <a:gd name="T29" fmla="*/ 133 h 192"/>
                  <a:gd name="T30" fmla="*/ 78 w 161"/>
                  <a:gd name="T31" fmla="*/ 157 h 192"/>
                  <a:gd name="T32" fmla="*/ 22 w 161"/>
                  <a:gd name="T33" fmla="*/ 142 h 192"/>
                  <a:gd name="T34" fmla="*/ 18 w 161"/>
                  <a:gd name="T35" fmla="*/ 139 h 192"/>
                  <a:gd name="T36" fmla="*/ 15 w 161"/>
                  <a:gd name="T37" fmla="*/ 143 h 192"/>
                  <a:gd name="T38" fmla="*/ 2 w 161"/>
                  <a:gd name="T39" fmla="*/ 166 h 192"/>
                  <a:gd name="T40" fmla="*/ 0 w 161"/>
                  <a:gd name="T41" fmla="*/ 170 h 192"/>
                  <a:gd name="T42" fmla="*/ 4 w 161"/>
                  <a:gd name="T43" fmla="*/ 172 h 192"/>
                  <a:gd name="T44" fmla="*/ 77 w 161"/>
                  <a:gd name="T45" fmla="*/ 192 h 192"/>
                  <a:gd name="T46" fmla="*/ 161 w 161"/>
                  <a:gd name="T47" fmla="*/ 132 h 192"/>
                  <a:gd name="T48" fmla="*/ 90 w 161"/>
                  <a:gd name="T49" fmla="*/ 78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61" h="192">
                    <a:moveTo>
                      <a:pt x="90" y="78"/>
                    </a:moveTo>
                    <a:cubicBezTo>
                      <a:pt x="63" y="74"/>
                      <a:pt x="46" y="71"/>
                      <a:pt x="46" y="56"/>
                    </a:cubicBezTo>
                    <a:cubicBezTo>
                      <a:pt x="46" y="43"/>
                      <a:pt x="60" y="36"/>
                      <a:pt x="83" y="36"/>
                    </a:cubicBezTo>
                    <a:cubicBezTo>
                      <a:pt x="109" y="36"/>
                      <a:pt x="130" y="45"/>
                      <a:pt x="139" y="49"/>
                    </a:cubicBezTo>
                    <a:cubicBezTo>
                      <a:pt x="139" y="49"/>
                      <a:pt x="139" y="49"/>
                      <a:pt x="140" y="49"/>
                    </a:cubicBezTo>
                    <a:cubicBezTo>
                      <a:pt x="142" y="49"/>
                      <a:pt x="144" y="49"/>
                      <a:pt x="145" y="47"/>
                    </a:cubicBezTo>
                    <a:cubicBezTo>
                      <a:pt x="156" y="25"/>
                      <a:pt x="156" y="25"/>
                      <a:pt x="156" y="25"/>
                    </a:cubicBezTo>
                    <a:cubicBezTo>
                      <a:pt x="156" y="24"/>
                      <a:pt x="156" y="23"/>
                      <a:pt x="156" y="23"/>
                    </a:cubicBezTo>
                    <a:cubicBezTo>
                      <a:pt x="156" y="21"/>
                      <a:pt x="155" y="19"/>
                      <a:pt x="153" y="18"/>
                    </a:cubicBezTo>
                    <a:cubicBezTo>
                      <a:pt x="152" y="17"/>
                      <a:pt x="152" y="17"/>
                      <a:pt x="152" y="17"/>
                    </a:cubicBezTo>
                    <a:cubicBezTo>
                      <a:pt x="133" y="7"/>
                      <a:pt x="106" y="0"/>
                      <a:pt x="81" y="0"/>
                    </a:cubicBezTo>
                    <a:cubicBezTo>
                      <a:pt x="35" y="0"/>
                      <a:pt x="7" y="22"/>
                      <a:pt x="7" y="57"/>
                    </a:cubicBezTo>
                    <a:cubicBezTo>
                      <a:pt x="7" y="75"/>
                      <a:pt x="13" y="87"/>
                      <a:pt x="25" y="96"/>
                    </a:cubicBezTo>
                    <a:cubicBezTo>
                      <a:pt x="40" y="107"/>
                      <a:pt x="61" y="110"/>
                      <a:pt x="80" y="113"/>
                    </a:cubicBezTo>
                    <a:cubicBezTo>
                      <a:pt x="106" y="117"/>
                      <a:pt x="122" y="119"/>
                      <a:pt x="122" y="133"/>
                    </a:cubicBezTo>
                    <a:cubicBezTo>
                      <a:pt x="122" y="155"/>
                      <a:pt x="91" y="157"/>
                      <a:pt x="78" y="157"/>
                    </a:cubicBezTo>
                    <a:cubicBezTo>
                      <a:pt x="57" y="157"/>
                      <a:pt x="38" y="152"/>
                      <a:pt x="22" y="142"/>
                    </a:cubicBezTo>
                    <a:cubicBezTo>
                      <a:pt x="18" y="139"/>
                      <a:pt x="18" y="139"/>
                      <a:pt x="18" y="139"/>
                    </a:cubicBezTo>
                    <a:cubicBezTo>
                      <a:pt x="15" y="143"/>
                      <a:pt x="15" y="143"/>
                      <a:pt x="15" y="143"/>
                    </a:cubicBezTo>
                    <a:cubicBezTo>
                      <a:pt x="2" y="166"/>
                      <a:pt x="2" y="166"/>
                      <a:pt x="2" y="166"/>
                    </a:cubicBezTo>
                    <a:cubicBezTo>
                      <a:pt x="0" y="170"/>
                      <a:pt x="0" y="170"/>
                      <a:pt x="0" y="170"/>
                    </a:cubicBezTo>
                    <a:cubicBezTo>
                      <a:pt x="4" y="172"/>
                      <a:pt x="4" y="172"/>
                      <a:pt x="4" y="172"/>
                    </a:cubicBezTo>
                    <a:cubicBezTo>
                      <a:pt x="18" y="181"/>
                      <a:pt x="42" y="192"/>
                      <a:pt x="77" y="192"/>
                    </a:cubicBezTo>
                    <a:cubicBezTo>
                      <a:pt x="128" y="192"/>
                      <a:pt x="161" y="169"/>
                      <a:pt x="161" y="132"/>
                    </a:cubicBezTo>
                    <a:cubicBezTo>
                      <a:pt x="161" y="88"/>
                      <a:pt x="122" y="82"/>
                      <a:pt x="90" y="7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2" name="Freeform 14"/>
              <p:cNvSpPr>
                <a:spLocks/>
              </p:cNvSpPr>
              <p:nvPr/>
            </p:nvSpPr>
            <p:spPr bwMode="auto">
              <a:xfrm>
                <a:off x="1642427" y="437296"/>
                <a:ext cx="93943" cy="127448"/>
              </a:xfrm>
              <a:custGeom>
                <a:avLst/>
                <a:gdLst>
                  <a:gd name="T0" fmla="*/ 128 w 139"/>
                  <a:gd name="T1" fmla="*/ 103 h 188"/>
                  <a:gd name="T2" fmla="*/ 121 w 139"/>
                  <a:gd name="T3" fmla="*/ 110 h 188"/>
                  <a:gd name="T4" fmla="*/ 38 w 139"/>
                  <a:gd name="T5" fmla="*/ 110 h 188"/>
                  <a:gd name="T6" fmla="*/ 38 w 139"/>
                  <a:gd name="T7" fmla="*/ 153 h 188"/>
                  <a:gd name="T8" fmla="*/ 139 w 139"/>
                  <a:gd name="T9" fmla="*/ 153 h 188"/>
                  <a:gd name="T10" fmla="*/ 139 w 139"/>
                  <a:gd name="T11" fmla="*/ 188 h 188"/>
                  <a:gd name="T12" fmla="*/ 0 w 139"/>
                  <a:gd name="T13" fmla="*/ 188 h 188"/>
                  <a:gd name="T14" fmla="*/ 0 w 139"/>
                  <a:gd name="T15" fmla="*/ 18 h 188"/>
                  <a:gd name="T16" fmla="*/ 19 w 139"/>
                  <a:gd name="T17" fmla="*/ 0 h 188"/>
                  <a:gd name="T18" fmla="*/ 130 w 139"/>
                  <a:gd name="T19" fmla="*/ 0 h 188"/>
                  <a:gd name="T20" fmla="*/ 137 w 139"/>
                  <a:gd name="T21" fmla="*/ 6 h 188"/>
                  <a:gd name="T22" fmla="*/ 137 w 139"/>
                  <a:gd name="T23" fmla="*/ 27 h 188"/>
                  <a:gd name="T24" fmla="*/ 130 w 139"/>
                  <a:gd name="T25" fmla="*/ 34 h 188"/>
                  <a:gd name="T26" fmla="*/ 38 w 139"/>
                  <a:gd name="T27" fmla="*/ 34 h 188"/>
                  <a:gd name="T28" fmla="*/ 38 w 139"/>
                  <a:gd name="T29" fmla="*/ 75 h 188"/>
                  <a:gd name="T30" fmla="*/ 121 w 139"/>
                  <a:gd name="T31" fmla="*/ 75 h 188"/>
                  <a:gd name="T32" fmla="*/ 128 w 139"/>
                  <a:gd name="T33" fmla="*/ 82 h 188"/>
                  <a:gd name="T34" fmla="*/ 128 w 139"/>
                  <a:gd name="T35" fmla="*/ 103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9" h="188">
                    <a:moveTo>
                      <a:pt x="128" y="103"/>
                    </a:moveTo>
                    <a:cubicBezTo>
                      <a:pt x="128" y="107"/>
                      <a:pt x="124" y="110"/>
                      <a:pt x="121" y="110"/>
                    </a:cubicBezTo>
                    <a:cubicBezTo>
                      <a:pt x="38" y="110"/>
                      <a:pt x="38" y="110"/>
                      <a:pt x="38" y="110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139" y="153"/>
                      <a:pt x="139" y="153"/>
                      <a:pt x="139" y="153"/>
                    </a:cubicBezTo>
                    <a:cubicBezTo>
                      <a:pt x="139" y="188"/>
                      <a:pt x="139" y="188"/>
                      <a:pt x="139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9" y="0"/>
                      <a:pt x="19" y="0"/>
                    </a:cubicBezTo>
                    <a:cubicBezTo>
                      <a:pt x="130" y="0"/>
                      <a:pt x="130" y="0"/>
                      <a:pt x="130" y="0"/>
                    </a:cubicBezTo>
                    <a:cubicBezTo>
                      <a:pt x="134" y="0"/>
                      <a:pt x="137" y="2"/>
                      <a:pt x="137" y="6"/>
                    </a:cubicBezTo>
                    <a:cubicBezTo>
                      <a:pt x="137" y="27"/>
                      <a:pt x="137" y="27"/>
                      <a:pt x="137" y="27"/>
                    </a:cubicBezTo>
                    <a:cubicBezTo>
                      <a:pt x="137" y="32"/>
                      <a:pt x="134" y="34"/>
                      <a:pt x="130" y="34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121" y="75"/>
                      <a:pt x="121" y="75"/>
                      <a:pt x="121" y="75"/>
                    </a:cubicBezTo>
                    <a:cubicBezTo>
                      <a:pt x="124" y="75"/>
                      <a:pt x="128" y="77"/>
                      <a:pt x="128" y="82"/>
                    </a:cubicBezTo>
                    <a:lnTo>
                      <a:pt x="128" y="10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801917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7777" y="1223963"/>
            <a:ext cx="8417448" cy="1970087"/>
          </a:xfrm>
        </p:spPr>
        <p:txBody>
          <a:bodyPr anchor="ctr"/>
          <a:lstStyle>
            <a:lvl1pPr algn="ctr">
              <a:lnSpc>
                <a:spcPct val="100000"/>
              </a:lnSpc>
              <a:defRPr sz="4000" b="1" cap="all"/>
            </a:lvl1pPr>
          </a:lstStyle>
          <a:p>
            <a:r>
              <a:rPr lang="en-US" dirty="0"/>
              <a:t>STATEMENT slid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67778" y="519113"/>
            <a:ext cx="8417448" cy="704850"/>
          </a:xfrm>
        </p:spPr>
        <p:txBody>
          <a:bodyPr anchor="t"/>
          <a:lstStyle>
            <a:lvl1pPr marL="0" indent="0">
              <a:buNone/>
              <a:defRPr sz="1200" cap="none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ection or Chapter Title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367777" y="339725"/>
            <a:ext cx="8417448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Group 20"/>
          <p:cNvGrpSpPr>
            <a:grpSpLocks noChangeAspect="1"/>
          </p:cNvGrpSpPr>
          <p:nvPr userDrawn="1"/>
        </p:nvGrpSpPr>
        <p:grpSpPr>
          <a:xfrm>
            <a:off x="7651248" y="4407954"/>
            <a:ext cx="1097216" cy="338034"/>
            <a:chOff x="5043330" y="2582427"/>
            <a:chExt cx="2714033" cy="836158"/>
          </a:xfrm>
        </p:grpSpPr>
        <p:pic>
          <p:nvPicPr>
            <p:cNvPr id="22" name="logo graphic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21205" y="2582427"/>
              <a:ext cx="836158" cy="836158"/>
            </a:xfrm>
            <a:prstGeom prst="rect">
              <a:avLst/>
            </a:prstGeom>
          </p:spPr>
        </p:pic>
        <p:grpSp>
          <p:nvGrpSpPr>
            <p:cNvPr id="23" name="letters"/>
            <p:cNvGrpSpPr/>
            <p:nvPr/>
          </p:nvGrpSpPr>
          <p:grpSpPr>
            <a:xfrm>
              <a:off x="5043330" y="2901718"/>
              <a:ext cx="1777426" cy="197580"/>
              <a:chOff x="566670" y="435864"/>
              <a:chExt cx="1169700" cy="130025"/>
            </a:xfrm>
            <a:solidFill>
              <a:schemeClr val="tx1"/>
            </a:solidFill>
          </p:grpSpPr>
          <p:sp>
            <p:nvSpPr>
              <p:cNvPr id="24" name="Freeform 6"/>
              <p:cNvSpPr>
                <a:spLocks/>
              </p:cNvSpPr>
              <p:nvPr/>
            </p:nvSpPr>
            <p:spPr bwMode="auto">
              <a:xfrm>
                <a:off x="566670" y="437296"/>
                <a:ext cx="146069" cy="127448"/>
              </a:xfrm>
              <a:custGeom>
                <a:avLst/>
                <a:gdLst>
                  <a:gd name="T0" fmla="*/ 216 w 216"/>
                  <a:gd name="T1" fmla="*/ 188 h 188"/>
                  <a:gd name="T2" fmla="*/ 178 w 216"/>
                  <a:gd name="T3" fmla="*/ 188 h 188"/>
                  <a:gd name="T4" fmla="*/ 178 w 216"/>
                  <a:gd name="T5" fmla="*/ 66 h 188"/>
                  <a:gd name="T6" fmla="*/ 113 w 216"/>
                  <a:gd name="T7" fmla="*/ 145 h 188"/>
                  <a:gd name="T8" fmla="*/ 103 w 216"/>
                  <a:gd name="T9" fmla="*/ 145 h 188"/>
                  <a:gd name="T10" fmla="*/ 38 w 216"/>
                  <a:gd name="T11" fmla="*/ 66 h 188"/>
                  <a:gd name="T12" fmla="*/ 38 w 216"/>
                  <a:gd name="T13" fmla="*/ 188 h 188"/>
                  <a:gd name="T14" fmla="*/ 0 w 216"/>
                  <a:gd name="T15" fmla="*/ 188 h 188"/>
                  <a:gd name="T16" fmla="*/ 0 w 216"/>
                  <a:gd name="T17" fmla="*/ 20 h 188"/>
                  <a:gd name="T18" fmla="*/ 20 w 216"/>
                  <a:gd name="T19" fmla="*/ 0 h 188"/>
                  <a:gd name="T20" fmla="*/ 20 w 216"/>
                  <a:gd name="T21" fmla="*/ 0 h 188"/>
                  <a:gd name="T22" fmla="*/ 38 w 216"/>
                  <a:gd name="T23" fmla="*/ 9 h 188"/>
                  <a:gd name="T24" fmla="*/ 108 w 216"/>
                  <a:gd name="T25" fmla="*/ 94 h 188"/>
                  <a:gd name="T26" fmla="*/ 182 w 216"/>
                  <a:gd name="T27" fmla="*/ 6 h 188"/>
                  <a:gd name="T28" fmla="*/ 196 w 216"/>
                  <a:gd name="T29" fmla="*/ 0 h 188"/>
                  <a:gd name="T30" fmla="*/ 196 w 216"/>
                  <a:gd name="T31" fmla="*/ 0 h 188"/>
                  <a:gd name="T32" fmla="*/ 216 w 216"/>
                  <a:gd name="T33" fmla="*/ 19 h 188"/>
                  <a:gd name="T34" fmla="*/ 216 w 216"/>
                  <a:gd name="T35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16" h="188">
                    <a:moveTo>
                      <a:pt x="216" y="188"/>
                    </a:moveTo>
                    <a:cubicBezTo>
                      <a:pt x="178" y="188"/>
                      <a:pt x="178" y="188"/>
                      <a:pt x="178" y="188"/>
                    </a:cubicBezTo>
                    <a:cubicBezTo>
                      <a:pt x="178" y="66"/>
                      <a:pt x="178" y="66"/>
                      <a:pt x="178" y="66"/>
                    </a:cubicBezTo>
                    <a:cubicBezTo>
                      <a:pt x="113" y="145"/>
                      <a:pt x="113" y="145"/>
                      <a:pt x="113" y="145"/>
                    </a:cubicBezTo>
                    <a:cubicBezTo>
                      <a:pt x="110" y="148"/>
                      <a:pt x="106" y="148"/>
                      <a:pt x="103" y="145"/>
                    </a:cubicBezTo>
                    <a:cubicBezTo>
                      <a:pt x="38" y="66"/>
                      <a:pt x="38" y="66"/>
                      <a:pt x="38" y="66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8" y="0"/>
                      <a:pt x="32" y="3"/>
                      <a:pt x="38" y="9"/>
                    </a:cubicBezTo>
                    <a:cubicBezTo>
                      <a:pt x="108" y="94"/>
                      <a:pt x="108" y="94"/>
                      <a:pt x="108" y="94"/>
                    </a:cubicBezTo>
                    <a:cubicBezTo>
                      <a:pt x="182" y="6"/>
                      <a:pt x="182" y="6"/>
                      <a:pt x="182" y="6"/>
                    </a:cubicBezTo>
                    <a:cubicBezTo>
                      <a:pt x="185" y="2"/>
                      <a:pt x="190" y="0"/>
                      <a:pt x="196" y="0"/>
                    </a:cubicBezTo>
                    <a:cubicBezTo>
                      <a:pt x="196" y="0"/>
                      <a:pt x="196" y="0"/>
                      <a:pt x="196" y="0"/>
                    </a:cubicBezTo>
                    <a:cubicBezTo>
                      <a:pt x="207" y="0"/>
                      <a:pt x="216" y="8"/>
                      <a:pt x="216" y="19"/>
                    </a:cubicBezTo>
                    <a:lnTo>
                      <a:pt x="216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25" name="Freeform 7"/>
              <p:cNvSpPr>
                <a:spLocks noEditPoints="1"/>
              </p:cNvSpPr>
              <p:nvPr/>
            </p:nvSpPr>
            <p:spPr bwMode="auto">
              <a:xfrm>
                <a:off x="1350862" y="436723"/>
                <a:ext cx="146069" cy="128020"/>
              </a:xfrm>
              <a:custGeom>
                <a:avLst/>
                <a:gdLst>
                  <a:gd name="T0" fmla="*/ 0 w 216"/>
                  <a:gd name="T1" fmla="*/ 189 h 189"/>
                  <a:gd name="T2" fmla="*/ 42 w 216"/>
                  <a:gd name="T3" fmla="*/ 189 h 189"/>
                  <a:gd name="T4" fmla="*/ 66 w 216"/>
                  <a:gd name="T5" fmla="*/ 138 h 189"/>
                  <a:gd name="T6" fmla="*/ 148 w 216"/>
                  <a:gd name="T7" fmla="*/ 138 h 189"/>
                  <a:gd name="T8" fmla="*/ 174 w 216"/>
                  <a:gd name="T9" fmla="*/ 189 h 189"/>
                  <a:gd name="T10" fmla="*/ 216 w 216"/>
                  <a:gd name="T11" fmla="*/ 189 h 189"/>
                  <a:gd name="T12" fmla="*/ 124 w 216"/>
                  <a:gd name="T13" fmla="*/ 9 h 189"/>
                  <a:gd name="T14" fmla="*/ 106 w 216"/>
                  <a:gd name="T15" fmla="*/ 0 h 189"/>
                  <a:gd name="T16" fmla="*/ 106 w 216"/>
                  <a:gd name="T17" fmla="*/ 0 h 189"/>
                  <a:gd name="T18" fmla="*/ 89 w 216"/>
                  <a:gd name="T19" fmla="*/ 9 h 189"/>
                  <a:gd name="T20" fmla="*/ 0 w 216"/>
                  <a:gd name="T21" fmla="*/ 189 h 189"/>
                  <a:gd name="T22" fmla="*/ 106 w 216"/>
                  <a:gd name="T23" fmla="*/ 55 h 189"/>
                  <a:gd name="T24" fmla="*/ 133 w 216"/>
                  <a:gd name="T25" fmla="*/ 108 h 189"/>
                  <a:gd name="T26" fmla="*/ 81 w 216"/>
                  <a:gd name="T27" fmla="*/ 108 h 189"/>
                  <a:gd name="T28" fmla="*/ 106 w 216"/>
                  <a:gd name="T29" fmla="*/ 55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16" h="189">
                    <a:moveTo>
                      <a:pt x="0" y="189"/>
                    </a:moveTo>
                    <a:cubicBezTo>
                      <a:pt x="42" y="189"/>
                      <a:pt x="42" y="189"/>
                      <a:pt x="42" y="189"/>
                    </a:cubicBezTo>
                    <a:cubicBezTo>
                      <a:pt x="66" y="138"/>
                      <a:pt x="66" y="138"/>
                      <a:pt x="66" y="138"/>
                    </a:cubicBezTo>
                    <a:cubicBezTo>
                      <a:pt x="148" y="138"/>
                      <a:pt x="148" y="138"/>
                      <a:pt x="148" y="138"/>
                    </a:cubicBezTo>
                    <a:cubicBezTo>
                      <a:pt x="174" y="189"/>
                      <a:pt x="174" y="189"/>
                      <a:pt x="174" y="189"/>
                    </a:cubicBezTo>
                    <a:cubicBezTo>
                      <a:pt x="216" y="189"/>
                      <a:pt x="216" y="189"/>
                      <a:pt x="216" y="189"/>
                    </a:cubicBezTo>
                    <a:cubicBezTo>
                      <a:pt x="124" y="9"/>
                      <a:pt x="124" y="9"/>
                      <a:pt x="124" y="9"/>
                    </a:cubicBezTo>
                    <a:cubicBezTo>
                      <a:pt x="120" y="3"/>
                      <a:pt x="114" y="0"/>
                      <a:pt x="106" y="0"/>
                    </a:cubicBezTo>
                    <a:cubicBezTo>
                      <a:pt x="106" y="0"/>
                      <a:pt x="106" y="0"/>
                      <a:pt x="106" y="0"/>
                    </a:cubicBezTo>
                    <a:cubicBezTo>
                      <a:pt x="99" y="0"/>
                      <a:pt x="93" y="3"/>
                      <a:pt x="89" y="9"/>
                    </a:cubicBezTo>
                    <a:lnTo>
                      <a:pt x="0" y="189"/>
                    </a:lnTo>
                    <a:close/>
                    <a:moveTo>
                      <a:pt x="106" y="55"/>
                    </a:moveTo>
                    <a:cubicBezTo>
                      <a:pt x="133" y="108"/>
                      <a:pt x="133" y="108"/>
                      <a:pt x="133" y="108"/>
                    </a:cubicBezTo>
                    <a:cubicBezTo>
                      <a:pt x="81" y="108"/>
                      <a:pt x="81" y="108"/>
                      <a:pt x="81" y="108"/>
                    </a:cubicBezTo>
                    <a:lnTo>
                      <a:pt x="106" y="5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26" name="Freeform 8"/>
              <p:cNvSpPr>
                <a:spLocks/>
              </p:cNvSpPr>
              <p:nvPr/>
            </p:nvSpPr>
            <p:spPr bwMode="auto">
              <a:xfrm>
                <a:off x="789211" y="437296"/>
                <a:ext cx="128598" cy="127448"/>
              </a:xfrm>
              <a:custGeom>
                <a:avLst/>
                <a:gdLst>
                  <a:gd name="T0" fmla="*/ 190 w 190"/>
                  <a:gd name="T1" fmla="*/ 188 h 188"/>
                  <a:gd name="T2" fmla="*/ 163 w 190"/>
                  <a:gd name="T3" fmla="*/ 188 h 188"/>
                  <a:gd name="T4" fmla="*/ 38 w 190"/>
                  <a:gd name="T5" fmla="*/ 62 h 188"/>
                  <a:gd name="T6" fmla="*/ 38 w 190"/>
                  <a:gd name="T7" fmla="*/ 188 h 188"/>
                  <a:gd name="T8" fmla="*/ 0 w 190"/>
                  <a:gd name="T9" fmla="*/ 188 h 188"/>
                  <a:gd name="T10" fmla="*/ 0 w 190"/>
                  <a:gd name="T11" fmla="*/ 20 h 188"/>
                  <a:gd name="T12" fmla="*/ 21 w 190"/>
                  <a:gd name="T13" fmla="*/ 0 h 188"/>
                  <a:gd name="T14" fmla="*/ 21 w 190"/>
                  <a:gd name="T15" fmla="*/ 0 h 188"/>
                  <a:gd name="T16" fmla="*/ 36 w 190"/>
                  <a:gd name="T17" fmla="*/ 6 h 188"/>
                  <a:gd name="T18" fmla="*/ 152 w 190"/>
                  <a:gd name="T19" fmla="*/ 123 h 188"/>
                  <a:gd name="T20" fmla="*/ 152 w 190"/>
                  <a:gd name="T21" fmla="*/ 12 h 188"/>
                  <a:gd name="T22" fmla="*/ 165 w 190"/>
                  <a:gd name="T23" fmla="*/ 0 h 188"/>
                  <a:gd name="T24" fmla="*/ 178 w 190"/>
                  <a:gd name="T25" fmla="*/ 0 h 188"/>
                  <a:gd name="T26" fmla="*/ 190 w 190"/>
                  <a:gd name="T27" fmla="*/ 12 h 188"/>
                  <a:gd name="T28" fmla="*/ 190 w 190"/>
                  <a:gd name="T29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0" h="188">
                    <a:moveTo>
                      <a:pt x="190" y="188"/>
                    </a:moveTo>
                    <a:cubicBezTo>
                      <a:pt x="163" y="188"/>
                      <a:pt x="163" y="188"/>
                      <a:pt x="163" y="188"/>
                    </a:cubicBezTo>
                    <a:cubicBezTo>
                      <a:pt x="38" y="62"/>
                      <a:pt x="38" y="62"/>
                      <a:pt x="38" y="62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1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7" y="0"/>
                      <a:pt x="32" y="2"/>
                      <a:pt x="36" y="6"/>
                    </a:cubicBezTo>
                    <a:cubicBezTo>
                      <a:pt x="152" y="123"/>
                      <a:pt x="152" y="123"/>
                      <a:pt x="152" y="123"/>
                    </a:cubicBezTo>
                    <a:cubicBezTo>
                      <a:pt x="152" y="12"/>
                      <a:pt x="152" y="12"/>
                      <a:pt x="152" y="12"/>
                    </a:cubicBezTo>
                    <a:cubicBezTo>
                      <a:pt x="152" y="5"/>
                      <a:pt x="158" y="0"/>
                      <a:pt x="165" y="0"/>
                    </a:cubicBezTo>
                    <a:cubicBezTo>
                      <a:pt x="178" y="0"/>
                      <a:pt x="178" y="0"/>
                      <a:pt x="178" y="0"/>
                    </a:cubicBezTo>
                    <a:cubicBezTo>
                      <a:pt x="185" y="0"/>
                      <a:pt x="190" y="5"/>
                      <a:pt x="190" y="12"/>
                    </a:cubicBezTo>
                    <a:lnTo>
                      <a:pt x="190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27" name="Freeform 9"/>
              <p:cNvSpPr>
                <a:spLocks noEditPoints="1"/>
              </p:cNvSpPr>
              <p:nvPr/>
            </p:nvSpPr>
            <p:spPr bwMode="auto">
              <a:xfrm>
                <a:off x="943586" y="437296"/>
                <a:ext cx="127739" cy="127448"/>
              </a:xfrm>
              <a:custGeom>
                <a:avLst/>
                <a:gdLst>
                  <a:gd name="T0" fmla="*/ 117 w 189"/>
                  <a:gd name="T1" fmla="*/ 4 h 188"/>
                  <a:gd name="T2" fmla="*/ 72 w 189"/>
                  <a:gd name="T3" fmla="*/ 0 h 188"/>
                  <a:gd name="T4" fmla="*/ 19 w 189"/>
                  <a:gd name="T5" fmla="*/ 0 h 188"/>
                  <a:gd name="T6" fmla="*/ 0 w 189"/>
                  <a:gd name="T7" fmla="*/ 18 h 188"/>
                  <a:gd name="T8" fmla="*/ 0 w 189"/>
                  <a:gd name="T9" fmla="*/ 188 h 188"/>
                  <a:gd name="T10" fmla="*/ 62 w 189"/>
                  <a:gd name="T11" fmla="*/ 188 h 188"/>
                  <a:gd name="T12" fmla="*/ 115 w 189"/>
                  <a:gd name="T13" fmla="*/ 182 h 188"/>
                  <a:gd name="T14" fmla="*/ 189 w 189"/>
                  <a:gd name="T15" fmla="*/ 91 h 188"/>
                  <a:gd name="T16" fmla="*/ 117 w 189"/>
                  <a:gd name="T17" fmla="*/ 4 h 188"/>
                  <a:gd name="T18" fmla="*/ 105 w 189"/>
                  <a:gd name="T19" fmla="*/ 148 h 188"/>
                  <a:gd name="T20" fmla="*/ 62 w 189"/>
                  <a:gd name="T21" fmla="*/ 153 h 188"/>
                  <a:gd name="T22" fmla="*/ 62 w 189"/>
                  <a:gd name="T23" fmla="*/ 153 h 188"/>
                  <a:gd name="T24" fmla="*/ 38 w 189"/>
                  <a:gd name="T25" fmla="*/ 153 h 188"/>
                  <a:gd name="T26" fmla="*/ 38 w 189"/>
                  <a:gd name="T27" fmla="*/ 153 h 188"/>
                  <a:gd name="T28" fmla="*/ 38 w 189"/>
                  <a:gd name="T29" fmla="*/ 34 h 188"/>
                  <a:gd name="T30" fmla="*/ 38 w 189"/>
                  <a:gd name="T31" fmla="*/ 34 h 188"/>
                  <a:gd name="T32" fmla="*/ 68 w 189"/>
                  <a:gd name="T33" fmla="*/ 34 h 188"/>
                  <a:gd name="T34" fmla="*/ 68 w 189"/>
                  <a:gd name="T35" fmla="*/ 34 h 188"/>
                  <a:gd name="T36" fmla="*/ 107 w 189"/>
                  <a:gd name="T37" fmla="*/ 38 h 188"/>
                  <a:gd name="T38" fmla="*/ 150 w 189"/>
                  <a:gd name="T39" fmla="*/ 91 h 188"/>
                  <a:gd name="T40" fmla="*/ 105 w 189"/>
                  <a:gd name="T41" fmla="*/ 14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89" h="188">
                    <a:moveTo>
                      <a:pt x="117" y="4"/>
                    </a:moveTo>
                    <a:cubicBezTo>
                      <a:pt x="104" y="1"/>
                      <a:pt x="89" y="0"/>
                      <a:pt x="72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9" y="0"/>
                      <a:pt x="0" y="8"/>
                      <a:pt x="0" y="1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62" y="188"/>
                      <a:pt x="62" y="188"/>
                      <a:pt x="62" y="188"/>
                    </a:cubicBezTo>
                    <a:cubicBezTo>
                      <a:pt x="84" y="188"/>
                      <a:pt x="100" y="186"/>
                      <a:pt x="115" y="182"/>
                    </a:cubicBezTo>
                    <a:cubicBezTo>
                      <a:pt x="163" y="168"/>
                      <a:pt x="189" y="136"/>
                      <a:pt x="189" y="91"/>
                    </a:cubicBezTo>
                    <a:cubicBezTo>
                      <a:pt x="189" y="46"/>
                      <a:pt x="164" y="15"/>
                      <a:pt x="117" y="4"/>
                    </a:cubicBezTo>
                    <a:close/>
                    <a:moveTo>
                      <a:pt x="105" y="148"/>
                    </a:moveTo>
                    <a:cubicBezTo>
                      <a:pt x="94" y="151"/>
                      <a:pt x="79" y="153"/>
                      <a:pt x="62" y="153"/>
                    </a:cubicBezTo>
                    <a:cubicBezTo>
                      <a:pt x="62" y="153"/>
                      <a:pt x="62" y="153"/>
                      <a:pt x="62" y="153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68" y="34"/>
                      <a:pt x="68" y="34"/>
                      <a:pt x="68" y="34"/>
                    </a:cubicBezTo>
                    <a:cubicBezTo>
                      <a:pt x="68" y="34"/>
                      <a:pt x="68" y="34"/>
                      <a:pt x="68" y="34"/>
                    </a:cubicBezTo>
                    <a:cubicBezTo>
                      <a:pt x="86" y="34"/>
                      <a:pt x="97" y="35"/>
                      <a:pt x="107" y="38"/>
                    </a:cubicBezTo>
                    <a:cubicBezTo>
                      <a:pt x="136" y="46"/>
                      <a:pt x="150" y="63"/>
                      <a:pt x="150" y="91"/>
                    </a:cubicBezTo>
                    <a:cubicBezTo>
                      <a:pt x="150" y="120"/>
                      <a:pt x="135" y="139"/>
                      <a:pt x="105" y="14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28" name="Freeform 10"/>
              <p:cNvSpPr>
                <a:spLocks noEditPoints="1"/>
              </p:cNvSpPr>
              <p:nvPr/>
            </p:nvSpPr>
            <p:spPr bwMode="auto">
              <a:xfrm>
                <a:off x="1513256" y="437296"/>
                <a:ext cx="110841" cy="127448"/>
              </a:xfrm>
              <a:custGeom>
                <a:avLst/>
                <a:gdLst>
                  <a:gd name="T0" fmla="*/ 113 w 164"/>
                  <a:gd name="T1" fmla="*/ 113 h 188"/>
                  <a:gd name="T2" fmla="*/ 158 w 164"/>
                  <a:gd name="T3" fmla="*/ 58 h 188"/>
                  <a:gd name="T4" fmla="*/ 82 w 164"/>
                  <a:gd name="T5" fmla="*/ 0 h 188"/>
                  <a:gd name="T6" fmla="*/ 19 w 164"/>
                  <a:gd name="T7" fmla="*/ 0 h 188"/>
                  <a:gd name="T8" fmla="*/ 0 w 164"/>
                  <a:gd name="T9" fmla="*/ 18 h 188"/>
                  <a:gd name="T10" fmla="*/ 0 w 164"/>
                  <a:gd name="T11" fmla="*/ 188 h 188"/>
                  <a:gd name="T12" fmla="*/ 38 w 164"/>
                  <a:gd name="T13" fmla="*/ 188 h 188"/>
                  <a:gd name="T14" fmla="*/ 38 w 164"/>
                  <a:gd name="T15" fmla="*/ 118 h 188"/>
                  <a:gd name="T16" fmla="*/ 72 w 164"/>
                  <a:gd name="T17" fmla="*/ 118 h 188"/>
                  <a:gd name="T18" fmla="*/ 119 w 164"/>
                  <a:gd name="T19" fmla="*/ 188 h 188"/>
                  <a:gd name="T20" fmla="*/ 164 w 164"/>
                  <a:gd name="T21" fmla="*/ 188 h 188"/>
                  <a:gd name="T22" fmla="*/ 113 w 164"/>
                  <a:gd name="T23" fmla="*/ 113 h 188"/>
                  <a:gd name="T24" fmla="*/ 38 w 164"/>
                  <a:gd name="T25" fmla="*/ 83 h 188"/>
                  <a:gd name="T26" fmla="*/ 38 w 164"/>
                  <a:gd name="T27" fmla="*/ 34 h 188"/>
                  <a:gd name="T28" fmla="*/ 85 w 164"/>
                  <a:gd name="T29" fmla="*/ 34 h 188"/>
                  <a:gd name="T30" fmla="*/ 118 w 164"/>
                  <a:gd name="T31" fmla="*/ 59 h 188"/>
                  <a:gd name="T32" fmla="*/ 77 w 164"/>
                  <a:gd name="T33" fmla="*/ 83 h 188"/>
                  <a:gd name="T34" fmla="*/ 38 w 164"/>
                  <a:gd name="T35" fmla="*/ 83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4" h="188">
                    <a:moveTo>
                      <a:pt x="113" y="113"/>
                    </a:moveTo>
                    <a:cubicBezTo>
                      <a:pt x="142" y="105"/>
                      <a:pt x="158" y="86"/>
                      <a:pt x="158" y="58"/>
                    </a:cubicBezTo>
                    <a:cubicBezTo>
                      <a:pt x="158" y="22"/>
                      <a:pt x="129" y="0"/>
                      <a:pt x="82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8" y="0"/>
                      <a:pt x="0" y="8"/>
                      <a:pt x="0" y="1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38" y="118"/>
                      <a:pt x="38" y="118"/>
                      <a:pt x="38" y="118"/>
                    </a:cubicBezTo>
                    <a:cubicBezTo>
                      <a:pt x="72" y="118"/>
                      <a:pt x="72" y="118"/>
                      <a:pt x="72" y="118"/>
                    </a:cubicBezTo>
                    <a:cubicBezTo>
                      <a:pt x="119" y="188"/>
                      <a:pt x="119" y="188"/>
                      <a:pt x="119" y="188"/>
                    </a:cubicBezTo>
                    <a:cubicBezTo>
                      <a:pt x="164" y="188"/>
                      <a:pt x="164" y="188"/>
                      <a:pt x="164" y="188"/>
                    </a:cubicBezTo>
                    <a:lnTo>
                      <a:pt x="113" y="113"/>
                    </a:lnTo>
                    <a:close/>
                    <a:moveTo>
                      <a:pt x="38" y="83"/>
                    </a:moveTo>
                    <a:cubicBezTo>
                      <a:pt x="38" y="34"/>
                      <a:pt x="38" y="34"/>
                      <a:pt x="38" y="34"/>
                    </a:cubicBezTo>
                    <a:cubicBezTo>
                      <a:pt x="85" y="34"/>
                      <a:pt x="85" y="34"/>
                      <a:pt x="85" y="34"/>
                    </a:cubicBezTo>
                    <a:cubicBezTo>
                      <a:pt x="98" y="34"/>
                      <a:pt x="118" y="38"/>
                      <a:pt x="118" y="59"/>
                    </a:cubicBezTo>
                    <a:cubicBezTo>
                      <a:pt x="118" y="69"/>
                      <a:pt x="114" y="83"/>
                      <a:pt x="77" y="83"/>
                    </a:cubicBezTo>
                    <a:lnTo>
                      <a:pt x="38" y="8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29" name="Freeform 11"/>
              <p:cNvSpPr>
                <a:spLocks/>
              </p:cNvSpPr>
              <p:nvPr/>
            </p:nvSpPr>
            <p:spPr bwMode="auto">
              <a:xfrm>
                <a:off x="738516" y="437296"/>
                <a:ext cx="25777" cy="127448"/>
              </a:xfrm>
              <a:custGeom>
                <a:avLst/>
                <a:gdLst>
                  <a:gd name="T0" fmla="*/ 0 w 38"/>
                  <a:gd name="T1" fmla="*/ 188 h 188"/>
                  <a:gd name="T2" fmla="*/ 38 w 38"/>
                  <a:gd name="T3" fmla="*/ 188 h 188"/>
                  <a:gd name="T4" fmla="*/ 38 w 38"/>
                  <a:gd name="T5" fmla="*/ 12 h 188"/>
                  <a:gd name="T6" fmla="*/ 25 w 38"/>
                  <a:gd name="T7" fmla="*/ 0 h 188"/>
                  <a:gd name="T8" fmla="*/ 13 w 38"/>
                  <a:gd name="T9" fmla="*/ 0 h 188"/>
                  <a:gd name="T10" fmla="*/ 0 w 38"/>
                  <a:gd name="T11" fmla="*/ 12 h 188"/>
                  <a:gd name="T12" fmla="*/ 0 w 38"/>
                  <a:gd name="T13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" h="188">
                    <a:moveTo>
                      <a:pt x="0" y="188"/>
                    </a:moveTo>
                    <a:cubicBezTo>
                      <a:pt x="38" y="188"/>
                      <a:pt x="38" y="188"/>
                      <a:pt x="38" y="188"/>
                    </a:cubicBezTo>
                    <a:cubicBezTo>
                      <a:pt x="38" y="12"/>
                      <a:pt x="38" y="12"/>
                      <a:pt x="38" y="12"/>
                    </a:cubicBezTo>
                    <a:cubicBezTo>
                      <a:pt x="38" y="5"/>
                      <a:pt x="32" y="0"/>
                      <a:pt x="25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0" y="5"/>
                      <a:pt x="0" y="12"/>
                    </a:cubicBezTo>
                    <a:lnTo>
                      <a:pt x="0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0" name="Freeform 12"/>
              <p:cNvSpPr>
                <a:spLocks/>
              </p:cNvSpPr>
              <p:nvPr/>
            </p:nvSpPr>
            <p:spPr bwMode="auto">
              <a:xfrm>
                <a:off x="1217394" y="437296"/>
                <a:ext cx="118001" cy="127448"/>
              </a:xfrm>
              <a:custGeom>
                <a:avLst/>
                <a:gdLst>
                  <a:gd name="T0" fmla="*/ 174 w 174"/>
                  <a:gd name="T1" fmla="*/ 188 h 188"/>
                  <a:gd name="T2" fmla="*/ 137 w 174"/>
                  <a:gd name="T3" fmla="*/ 188 h 188"/>
                  <a:gd name="T4" fmla="*/ 137 w 174"/>
                  <a:gd name="T5" fmla="*/ 110 h 188"/>
                  <a:gd name="T6" fmla="*/ 38 w 174"/>
                  <a:gd name="T7" fmla="*/ 110 h 188"/>
                  <a:gd name="T8" fmla="*/ 38 w 174"/>
                  <a:gd name="T9" fmla="*/ 188 h 188"/>
                  <a:gd name="T10" fmla="*/ 0 w 174"/>
                  <a:gd name="T11" fmla="*/ 188 h 188"/>
                  <a:gd name="T12" fmla="*/ 0 w 174"/>
                  <a:gd name="T13" fmla="*/ 12 h 188"/>
                  <a:gd name="T14" fmla="*/ 13 w 174"/>
                  <a:gd name="T15" fmla="*/ 0 h 188"/>
                  <a:gd name="T16" fmla="*/ 25 w 174"/>
                  <a:gd name="T17" fmla="*/ 0 h 188"/>
                  <a:gd name="T18" fmla="*/ 38 w 174"/>
                  <a:gd name="T19" fmla="*/ 12 h 188"/>
                  <a:gd name="T20" fmla="*/ 38 w 174"/>
                  <a:gd name="T21" fmla="*/ 75 h 188"/>
                  <a:gd name="T22" fmla="*/ 137 w 174"/>
                  <a:gd name="T23" fmla="*/ 75 h 188"/>
                  <a:gd name="T24" fmla="*/ 137 w 174"/>
                  <a:gd name="T25" fmla="*/ 12 h 188"/>
                  <a:gd name="T26" fmla="*/ 149 w 174"/>
                  <a:gd name="T27" fmla="*/ 0 h 188"/>
                  <a:gd name="T28" fmla="*/ 162 w 174"/>
                  <a:gd name="T29" fmla="*/ 0 h 188"/>
                  <a:gd name="T30" fmla="*/ 174 w 174"/>
                  <a:gd name="T31" fmla="*/ 12 h 188"/>
                  <a:gd name="T32" fmla="*/ 174 w 174"/>
                  <a:gd name="T33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4" h="188">
                    <a:moveTo>
                      <a:pt x="174" y="188"/>
                    </a:moveTo>
                    <a:cubicBezTo>
                      <a:pt x="137" y="188"/>
                      <a:pt x="137" y="188"/>
                      <a:pt x="137" y="188"/>
                    </a:cubicBezTo>
                    <a:cubicBezTo>
                      <a:pt x="137" y="110"/>
                      <a:pt x="137" y="110"/>
                      <a:pt x="137" y="110"/>
                    </a:cubicBezTo>
                    <a:cubicBezTo>
                      <a:pt x="38" y="110"/>
                      <a:pt x="38" y="110"/>
                      <a:pt x="38" y="110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6" y="0"/>
                      <a:pt x="13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32" y="0"/>
                      <a:pt x="38" y="5"/>
                      <a:pt x="38" y="12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137" y="75"/>
                      <a:pt x="137" y="75"/>
                      <a:pt x="137" y="75"/>
                    </a:cubicBezTo>
                    <a:cubicBezTo>
                      <a:pt x="137" y="12"/>
                      <a:pt x="137" y="12"/>
                      <a:pt x="137" y="12"/>
                    </a:cubicBezTo>
                    <a:cubicBezTo>
                      <a:pt x="137" y="5"/>
                      <a:pt x="142" y="0"/>
                      <a:pt x="149" y="0"/>
                    </a:cubicBezTo>
                    <a:cubicBezTo>
                      <a:pt x="162" y="0"/>
                      <a:pt x="162" y="0"/>
                      <a:pt x="162" y="0"/>
                    </a:cubicBezTo>
                    <a:cubicBezTo>
                      <a:pt x="169" y="0"/>
                      <a:pt x="174" y="5"/>
                      <a:pt x="174" y="12"/>
                    </a:cubicBezTo>
                    <a:lnTo>
                      <a:pt x="174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1" name="Freeform 13"/>
              <p:cNvSpPr>
                <a:spLocks/>
              </p:cNvSpPr>
              <p:nvPr/>
            </p:nvSpPr>
            <p:spPr bwMode="auto">
              <a:xfrm>
                <a:off x="1085646" y="435864"/>
                <a:ext cx="108836" cy="130025"/>
              </a:xfrm>
              <a:custGeom>
                <a:avLst/>
                <a:gdLst>
                  <a:gd name="T0" fmla="*/ 90 w 161"/>
                  <a:gd name="T1" fmla="*/ 78 h 192"/>
                  <a:gd name="T2" fmla="*/ 46 w 161"/>
                  <a:gd name="T3" fmla="*/ 56 h 192"/>
                  <a:gd name="T4" fmla="*/ 83 w 161"/>
                  <a:gd name="T5" fmla="*/ 36 h 192"/>
                  <a:gd name="T6" fmla="*/ 139 w 161"/>
                  <a:gd name="T7" fmla="*/ 49 h 192"/>
                  <a:gd name="T8" fmla="*/ 140 w 161"/>
                  <a:gd name="T9" fmla="*/ 49 h 192"/>
                  <a:gd name="T10" fmla="*/ 145 w 161"/>
                  <a:gd name="T11" fmla="*/ 47 h 192"/>
                  <a:gd name="T12" fmla="*/ 156 w 161"/>
                  <a:gd name="T13" fmla="*/ 25 h 192"/>
                  <a:gd name="T14" fmla="*/ 156 w 161"/>
                  <a:gd name="T15" fmla="*/ 23 h 192"/>
                  <a:gd name="T16" fmla="*/ 153 w 161"/>
                  <a:gd name="T17" fmla="*/ 18 h 192"/>
                  <a:gd name="T18" fmla="*/ 152 w 161"/>
                  <a:gd name="T19" fmla="*/ 17 h 192"/>
                  <a:gd name="T20" fmla="*/ 81 w 161"/>
                  <a:gd name="T21" fmla="*/ 0 h 192"/>
                  <a:gd name="T22" fmla="*/ 7 w 161"/>
                  <a:gd name="T23" fmla="*/ 57 h 192"/>
                  <a:gd name="T24" fmla="*/ 25 w 161"/>
                  <a:gd name="T25" fmla="*/ 96 h 192"/>
                  <a:gd name="T26" fmla="*/ 80 w 161"/>
                  <a:gd name="T27" fmla="*/ 113 h 192"/>
                  <a:gd name="T28" fmla="*/ 122 w 161"/>
                  <a:gd name="T29" fmla="*/ 133 h 192"/>
                  <a:gd name="T30" fmla="*/ 78 w 161"/>
                  <a:gd name="T31" fmla="*/ 157 h 192"/>
                  <a:gd name="T32" fmla="*/ 22 w 161"/>
                  <a:gd name="T33" fmla="*/ 142 h 192"/>
                  <a:gd name="T34" fmla="*/ 18 w 161"/>
                  <a:gd name="T35" fmla="*/ 139 h 192"/>
                  <a:gd name="T36" fmla="*/ 15 w 161"/>
                  <a:gd name="T37" fmla="*/ 143 h 192"/>
                  <a:gd name="T38" fmla="*/ 2 w 161"/>
                  <a:gd name="T39" fmla="*/ 166 h 192"/>
                  <a:gd name="T40" fmla="*/ 0 w 161"/>
                  <a:gd name="T41" fmla="*/ 170 h 192"/>
                  <a:gd name="T42" fmla="*/ 4 w 161"/>
                  <a:gd name="T43" fmla="*/ 172 h 192"/>
                  <a:gd name="T44" fmla="*/ 77 w 161"/>
                  <a:gd name="T45" fmla="*/ 192 h 192"/>
                  <a:gd name="T46" fmla="*/ 161 w 161"/>
                  <a:gd name="T47" fmla="*/ 132 h 192"/>
                  <a:gd name="T48" fmla="*/ 90 w 161"/>
                  <a:gd name="T49" fmla="*/ 78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61" h="192">
                    <a:moveTo>
                      <a:pt x="90" y="78"/>
                    </a:moveTo>
                    <a:cubicBezTo>
                      <a:pt x="63" y="74"/>
                      <a:pt x="46" y="71"/>
                      <a:pt x="46" y="56"/>
                    </a:cubicBezTo>
                    <a:cubicBezTo>
                      <a:pt x="46" y="43"/>
                      <a:pt x="60" y="36"/>
                      <a:pt x="83" y="36"/>
                    </a:cubicBezTo>
                    <a:cubicBezTo>
                      <a:pt x="109" y="36"/>
                      <a:pt x="130" y="45"/>
                      <a:pt x="139" y="49"/>
                    </a:cubicBezTo>
                    <a:cubicBezTo>
                      <a:pt x="139" y="49"/>
                      <a:pt x="139" y="49"/>
                      <a:pt x="140" y="49"/>
                    </a:cubicBezTo>
                    <a:cubicBezTo>
                      <a:pt x="142" y="49"/>
                      <a:pt x="144" y="49"/>
                      <a:pt x="145" y="47"/>
                    </a:cubicBezTo>
                    <a:cubicBezTo>
                      <a:pt x="156" y="25"/>
                      <a:pt x="156" y="25"/>
                      <a:pt x="156" y="25"/>
                    </a:cubicBezTo>
                    <a:cubicBezTo>
                      <a:pt x="156" y="24"/>
                      <a:pt x="156" y="23"/>
                      <a:pt x="156" y="23"/>
                    </a:cubicBezTo>
                    <a:cubicBezTo>
                      <a:pt x="156" y="21"/>
                      <a:pt x="155" y="19"/>
                      <a:pt x="153" y="18"/>
                    </a:cubicBezTo>
                    <a:cubicBezTo>
                      <a:pt x="152" y="17"/>
                      <a:pt x="152" y="17"/>
                      <a:pt x="152" y="17"/>
                    </a:cubicBezTo>
                    <a:cubicBezTo>
                      <a:pt x="133" y="7"/>
                      <a:pt x="106" y="0"/>
                      <a:pt x="81" y="0"/>
                    </a:cubicBezTo>
                    <a:cubicBezTo>
                      <a:pt x="35" y="0"/>
                      <a:pt x="7" y="22"/>
                      <a:pt x="7" y="57"/>
                    </a:cubicBezTo>
                    <a:cubicBezTo>
                      <a:pt x="7" y="75"/>
                      <a:pt x="13" y="87"/>
                      <a:pt x="25" y="96"/>
                    </a:cubicBezTo>
                    <a:cubicBezTo>
                      <a:pt x="40" y="107"/>
                      <a:pt x="61" y="110"/>
                      <a:pt x="80" y="113"/>
                    </a:cubicBezTo>
                    <a:cubicBezTo>
                      <a:pt x="106" y="117"/>
                      <a:pt x="122" y="119"/>
                      <a:pt x="122" y="133"/>
                    </a:cubicBezTo>
                    <a:cubicBezTo>
                      <a:pt x="122" y="155"/>
                      <a:pt x="91" y="157"/>
                      <a:pt x="78" y="157"/>
                    </a:cubicBezTo>
                    <a:cubicBezTo>
                      <a:pt x="57" y="157"/>
                      <a:pt x="38" y="152"/>
                      <a:pt x="22" y="142"/>
                    </a:cubicBezTo>
                    <a:cubicBezTo>
                      <a:pt x="18" y="139"/>
                      <a:pt x="18" y="139"/>
                      <a:pt x="18" y="139"/>
                    </a:cubicBezTo>
                    <a:cubicBezTo>
                      <a:pt x="15" y="143"/>
                      <a:pt x="15" y="143"/>
                      <a:pt x="15" y="143"/>
                    </a:cubicBezTo>
                    <a:cubicBezTo>
                      <a:pt x="2" y="166"/>
                      <a:pt x="2" y="166"/>
                      <a:pt x="2" y="166"/>
                    </a:cubicBezTo>
                    <a:cubicBezTo>
                      <a:pt x="0" y="170"/>
                      <a:pt x="0" y="170"/>
                      <a:pt x="0" y="170"/>
                    </a:cubicBezTo>
                    <a:cubicBezTo>
                      <a:pt x="4" y="172"/>
                      <a:pt x="4" y="172"/>
                      <a:pt x="4" y="172"/>
                    </a:cubicBezTo>
                    <a:cubicBezTo>
                      <a:pt x="18" y="181"/>
                      <a:pt x="42" y="192"/>
                      <a:pt x="77" y="192"/>
                    </a:cubicBezTo>
                    <a:cubicBezTo>
                      <a:pt x="128" y="192"/>
                      <a:pt x="161" y="169"/>
                      <a:pt x="161" y="132"/>
                    </a:cubicBezTo>
                    <a:cubicBezTo>
                      <a:pt x="161" y="88"/>
                      <a:pt x="122" y="82"/>
                      <a:pt x="90" y="7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2" name="Freeform 14"/>
              <p:cNvSpPr>
                <a:spLocks/>
              </p:cNvSpPr>
              <p:nvPr/>
            </p:nvSpPr>
            <p:spPr bwMode="auto">
              <a:xfrm>
                <a:off x="1642427" y="437296"/>
                <a:ext cx="93943" cy="127448"/>
              </a:xfrm>
              <a:custGeom>
                <a:avLst/>
                <a:gdLst>
                  <a:gd name="T0" fmla="*/ 128 w 139"/>
                  <a:gd name="T1" fmla="*/ 103 h 188"/>
                  <a:gd name="T2" fmla="*/ 121 w 139"/>
                  <a:gd name="T3" fmla="*/ 110 h 188"/>
                  <a:gd name="T4" fmla="*/ 38 w 139"/>
                  <a:gd name="T5" fmla="*/ 110 h 188"/>
                  <a:gd name="T6" fmla="*/ 38 w 139"/>
                  <a:gd name="T7" fmla="*/ 153 h 188"/>
                  <a:gd name="T8" fmla="*/ 139 w 139"/>
                  <a:gd name="T9" fmla="*/ 153 h 188"/>
                  <a:gd name="T10" fmla="*/ 139 w 139"/>
                  <a:gd name="T11" fmla="*/ 188 h 188"/>
                  <a:gd name="T12" fmla="*/ 0 w 139"/>
                  <a:gd name="T13" fmla="*/ 188 h 188"/>
                  <a:gd name="T14" fmla="*/ 0 w 139"/>
                  <a:gd name="T15" fmla="*/ 18 h 188"/>
                  <a:gd name="T16" fmla="*/ 19 w 139"/>
                  <a:gd name="T17" fmla="*/ 0 h 188"/>
                  <a:gd name="T18" fmla="*/ 130 w 139"/>
                  <a:gd name="T19" fmla="*/ 0 h 188"/>
                  <a:gd name="T20" fmla="*/ 137 w 139"/>
                  <a:gd name="T21" fmla="*/ 6 h 188"/>
                  <a:gd name="T22" fmla="*/ 137 w 139"/>
                  <a:gd name="T23" fmla="*/ 27 h 188"/>
                  <a:gd name="T24" fmla="*/ 130 w 139"/>
                  <a:gd name="T25" fmla="*/ 34 h 188"/>
                  <a:gd name="T26" fmla="*/ 38 w 139"/>
                  <a:gd name="T27" fmla="*/ 34 h 188"/>
                  <a:gd name="T28" fmla="*/ 38 w 139"/>
                  <a:gd name="T29" fmla="*/ 75 h 188"/>
                  <a:gd name="T30" fmla="*/ 121 w 139"/>
                  <a:gd name="T31" fmla="*/ 75 h 188"/>
                  <a:gd name="T32" fmla="*/ 128 w 139"/>
                  <a:gd name="T33" fmla="*/ 82 h 188"/>
                  <a:gd name="T34" fmla="*/ 128 w 139"/>
                  <a:gd name="T35" fmla="*/ 103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9" h="188">
                    <a:moveTo>
                      <a:pt x="128" y="103"/>
                    </a:moveTo>
                    <a:cubicBezTo>
                      <a:pt x="128" y="107"/>
                      <a:pt x="124" y="110"/>
                      <a:pt x="121" y="110"/>
                    </a:cubicBezTo>
                    <a:cubicBezTo>
                      <a:pt x="38" y="110"/>
                      <a:pt x="38" y="110"/>
                      <a:pt x="38" y="110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139" y="153"/>
                      <a:pt x="139" y="153"/>
                      <a:pt x="139" y="153"/>
                    </a:cubicBezTo>
                    <a:cubicBezTo>
                      <a:pt x="139" y="188"/>
                      <a:pt x="139" y="188"/>
                      <a:pt x="139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9" y="0"/>
                      <a:pt x="19" y="0"/>
                    </a:cubicBezTo>
                    <a:cubicBezTo>
                      <a:pt x="130" y="0"/>
                      <a:pt x="130" y="0"/>
                      <a:pt x="130" y="0"/>
                    </a:cubicBezTo>
                    <a:cubicBezTo>
                      <a:pt x="134" y="0"/>
                      <a:pt x="137" y="2"/>
                      <a:pt x="137" y="6"/>
                    </a:cubicBezTo>
                    <a:cubicBezTo>
                      <a:pt x="137" y="27"/>
                      <a:pt x="137" y="27"/>
                      <a:pt x="137" y="27"/>
                    </a:cubicBezTo>
                    <a:cubicBezTo>
                      <a:pt x="137" y="32"/>
                      <a:pt x="134" y="34"/>
                      <a:pt x="130" y="34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121" y="75"/>
                      <a:pt x="121" y="75"/>
                      <a:pt x="121" y="75"/>
                    </a:cubicBezTo>
                    <a:cubicBezTo>
                      <a:pt x="124" y="75"/>
                      <a:pt x="128" y="77"/>
                      <a:pt x="128" y="82"/>
                    </a:cubicBezTo>
                    <a:lnTo>
                      <a:pt x="128" y="10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264567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304638" y="3194050"/>
            <a:ext cx="6543726" cy="885825"/>
          </a:xfrm>
        </p:spPr>
        <p:txBody>
          <a:bodyPr anchor="t"/>
          <a:lstStyle>
            <a:lvl1pPr marL="0" indent="0" algn="ctr">
              <a:buNone/>
              <a:defRPr sz="1400" cap="none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ection or Chapte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68300" y="1412875"/>
            <a:ext cx="8416925" cy="1593850"/>
          </a:xfrm>
        </p:spPr>
        <p:txBody>
          <a:bodyPr anchor="ctr"/>
          <a:lstStyle>
            <a:lvl1pPr algn="ctr">
              <a:lnSpc>
                <a:spcPct val="100000"/>
              </a:lnSpc>
              <a:defRPr sz="4000" baseline="0"/>
            </a:lvl1pPr>
          </a:lstStyle>
          <a:p>
            <a:pPr lvl="0"/>
            <a:r>
              <a:rPr lang="en-GB" dirty="0"/>
              <a:t>Intro slide with sub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04679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3" name="Straight Connector 22"/>
          <p:cNvCxnSpPr/>
          <p:nvPr userDrawn="1"/>
        </p:nvCxnSpPr>
        <p:spPr>
          <a:xfrm>
            <a:off x="367777" y="4787900"/>
            <a:ext cx="8417448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58776" y="4079875"/>
            <a:ext cx="8426450" cy="602656"/>
          </a:xfrm>
        </p:spPr>
        <p:txBody>
          <a:bodyPr anchor="b"/>
          <a:lstStyle>
            <a:lvl1pPr marL="0" indent="0" algn="r">
              <a:buNone/>
              <a:defRPr sz="1200" i="1" cap="none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- Click to edit Master text styles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68300" y="1412875"/>
            <a:ext cx="8416925" cy="1593850"/>
          </a:xfrm>
        </p:spPr>
        <p:txBody>
          <a:bodyPr anchor="ctr"/>
          <a:lstStyle>
            <a:lvl1pPr algn="ctr">
              <a:lnSpc>
                <a:spcPct val="100000"/>
              </a:lnSpc>
              <a:defRPr sz="4000" baseline="0"/>
            </a:lvl1pPr>
          </a:lstStyle>
          <a:p>
            <a:pPr lvl="0"/>
            <a:r>
              <a:rPr lang="en-GB" dirty="0"/>
              <a:t>“Quotation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17975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He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2497138" y="5556"/>
            <a:ext cx="6646862" cy="513794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972" y="520093"/>
            <a:ext cx="1963562" cy="70387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2503407" y="0"/>
            <a:ext cx="6640593" cy="5143501"/>
          </a:xfrm>
        </p:spPr>
        <p:txBody>
          <a:bodyPr anchor="ctr"/>
          <a:lstStyle>
            <a:lvl1pPr algn="ctr">
              <a:defRPr sz="1000" b="0" baseline="0"/>
            </a:lvl1pPr>
          </a:lstStyle>
          <a:p>
            <a:r>
              <a:rPr lang="en-GB"/>
              <a:t>Drag &amp; drop image here or delete to place other content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61972" y="4566949"/>
            <a:ext cx="1957293" cy="220951"/>
          </a:xfrm>
        </p:spPr>
        <p:txBody>
          <a:bodyPr anchor="b"/>
          <a:lstStyle>
            <a:lvl1pPr>
              <a:spcBef>
                <a:spcPts val="0"/>
              </a:spcBef>
              <a:defRPr sz="700" b="0"/>
            </a:lvl1pPr>
          </a:lstStyle>
          <a:p>
            <a:pPr lvl="0"/>
            <a:r>
              <a:rPr lang="en-US" dirty="0"/>
              <a:t>Source: enter text her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361972" y="1223964"/>
            <a:ext cx="1957293" cy="2855912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27772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a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3" name="Straight Connector 22"/>
          <p:cNvCxnSpPr/>
          <p:nvPr userDrawn="1"/>
        </p:nvCxnSpPr>
        <p:spPr>
          <a:xfrm>
            <a:off x="367777" y="4787900"/>
            <a:ext cx="8417448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58776" y="4079875"/>
            <a:ext cx="8426450" cy="602656"/>
          </a:xfrm>
        </p:spPr>
        <p:txBody>
          <a:bodyPr anchor="b"/>
          <a:lstStyle>
            <a:lvl1pPr marL="0" indent="0" algn="r">
              <a:buNone/>
              <a:defRPr sz="1200" i="1" cap="none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- Click to edit Master text styles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68300" y="1412875"/>
            <a:ext cx="8416925" cy="1593850"/>
          </a:xfrm>
        </p:spPr>
        <p:txBody>
          <a:bodyPr anchor="ctr"/>
          <a:lstStyle>
            <a:lvl1pPr algn="ctr">
              <a:lnSpc>
                <a:spcPct val="100000"/>
              </a:lnSpc>
              <a:defRPr sz="4000" baseline="0"/>
            </a:lvl1pPr>
          </a:lstStyle>
          <a:p>
            <a:pPr lvl="0"/>
            <a:r>
              <a:rPr lang="en-GB" dirty="0"/>
              <a:t>“Quotation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6958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Height Sim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2497138" y="5556"/>
            <a:ext cx="6646862" cy="513794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2503407" y="0"/>
            <a:ext cx="6640593" cy="5143501"/>
          </a:xfrm>
        </p:spPr>
        <p:txBody>
          <a:bodyPr anchor="ctr"/>
          <a:lstStyle>
            <a:lvl1pPr algn="ctr">
              <a:defRPr sz="1000" b="0" baseline="0"/>
            </a:lvl1pPr>
          </a:lstStyle>
          <a:p>
            <a:r>
              <a:rPr lang="en-GB"/>
              <a:t>Drag &amp; drop image here or delete to place other conten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775" y="3191943"/>
            <a:ext cx="1963617" cy="1595958"/>
          </a:xfrm>
        </p:spPr>
        <p:txBody>
          <a:bodyPr anchor="b"/>
          <a:lstStyle>
            <a:lvl1pPr>
              <a:lnSpc>
                <a:spcPct val="90000"/>
              </a:lnSpc>
              <a:defRPr sz="24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4664075" y="4555404"/>
            <a:ext cx="4121150" cy="232496"/>
          </a:xfrm>
        </p:spPr>
        <p:txBody>
          <a:bodyPr anchor="b"/>
          <a:lstStyle>
            <a:lvl1pPr algn="r">
              <a:spcBef>
                <a:spcPts val="0"/>
              </a:spcBef>
              <a:defRPr sz="700" b="0"/>
            </a:lvl1pPr>
          </a:lstStyle>
          <a:p>
            <a:pPr lvl="0"/>
            <a:r>
              <a:rPr lang="en-US" dirty="0"/>
              <a:t>Source: enter text here</a:t>
            </a:r>
          </a:p>
        </p:txBody>
      </p:sp>
    </p:spTree>
    <p:extLst>
      <p:ext uri="{BB962C8B-B14F-4D97-AF65-F5344CB8AC3E}">
        <p14:creationId xmlns:p14="http://schemas.microsoft.com/office/powerpoint/2010/main" val="79823580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0" y="1"/>
            <a:ext cx="9144000" cy="2950882"/>
          </a:xfrm>
          <a:prstGeom prst="rect">
            <a:avLst/>
          </a:prstGeom>
          <a:solidFill>
            <a:schemeClr val="tx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9142413" cy="2947988"/>
          </a:xfrm>
          <a:noFill/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0" baseline="0">
                <a:solidFill>
                  <a:schemeClr val="bg2"/>
                </a:solidFill>
              </a:defRPr>
            </a:lvl1pPr>
          </a:lstStyle>
          <a:p>
            <a:r>
              <a:rPr lang="en-GB"/>
              <a:t>Drag &amp; drop to place image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358775" y="356107"/>
            <a:ext cx="1960563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0" name="Text Placeholder 28"/>
          <p:cNvSpPr>
            <a:spLocks noGrp="1"/>
          </p:cNvSpPr>
          <p:nvPr>
            <p:ph type="body" sz="quarter" idx="22"/>
          </p:nvPr>
        </p:nvSpPr>
        <p:spPr>
          <a:xfrm>
            <a:off x="358775" y="3194050"/>
            <a:ext cx="2522116" cy="1371206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1" name="Text Placeholder 28"/>
          <p:cNvSpPr>
            <a:spLocks noGrp="1"/>
          </p:cNvSpPr>
          <p:nvPr>
            <p:ph type="body" sz="quarter" idx="23"/>
          </p:nvPr>
        </p:nvSpPr>
        <p:spPr>
          <a:xfrm>
            <a:off x="3097653" y="3196312"/>
            <a:ext cx="2735405" cy="1371206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2" name="Text Placeholder 28"/>
          <p:cNvSpPr>
            <a:spLocks noGrp="1"/>
          </p:cNvSpPr>
          <p:nvPr>
            <p:ph type="body" sz="quarter" idx="24"/>
          </p:nvPr>
        </p:nvSpPr>
        <p:spPr>
          <a:xfrm>
            <a:off x="6049820" y="3194050"/>
            <a:ext cx="2735405" cy="1371206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5" name="Text Placeholder 14"/>
          <p:cNvSpPr>
            <a:spLocks noGrp="1"/>
          </p:cNvSpPr>
          <p:nvPr>
            <p:ph type="body" sz="quarter" idx="25" hasCustomPrompt="1"/>
          </p:nvPr>
        </p:nvSpPr>
        <p:spPr>
          <a:xfrm>
            <a:off x="4664075" y="4570413"/>
            <a:ext cx="4125412" cy="215225"/>
          </a:xfrm>
        </p:spPr>
        <p:txBody>
          <a:bodyPr anchor="b"/>
          <a:lstStyle>
            <a:lvl1pPr algn="r">
              <a:spcBef>
                <a:spcPts val="0"/>
              </a:spcBef>
              <a:defRPr sz="7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Source: enter text here</a:t>
            </a:r>
          </a:p>
        </p:txBody>
      </p:sp>
      <p:sp>
        <p:nvSpPr>
          <p:cNvPr id="36" name="Text Placeholder 28"/>
          <p:cNvSpPr>
            <a:spLocks noGrp="1"/>
          </p:cNvSpPr>
          <p:nvPr>
            <p:ph type="body" sz="quarter" idx="26"/>
          </p:nvPr>
        </p:nvSpPr>
        <p:spPr>
          <a:xfrm>
            <a:off x="6632575" y="1222547"/>
            <a:ext cx="2152650" cy="1074566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46845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 &amp;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365379" y="1223964"/>
            <a:ext cx="2698798" cy="17827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425" y="519113"/>
            <a:ext cx="8421286" cy="56913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24" hasCustomPrompt="1"/>
          </p:nvPr>
        </p:nvSpPr>
        <p:spPr>
          <a:xfrm>
            <a:off x="4664075" y="4570413"/>
            <a:ext cx="4125412" cy="215225"/>
          </a:xfrm>
        </p:spPr>
        <p:txBody>
          <a:bodyPr anchor="b"/>
          <a:lstStyle>
            <a:lvl1pPr algn="r">
              <a:spcBef>
                <a:spcPts val="0"/>
              </a:spcBef>
              <a:defRPr sz="700" b="0"/>
            </a:lvl1pPr>
          </a:lstStyle>
          <a:p>
            <a:pPr lvl="0"/>
            <a:r>
              <a:rPr lang="en-US" dirty="0"/>
              <a:t>Source: enter text here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28"/>
          </p:nvPr>
        </p:nvSpPr>
        <p:spPr>
          <a:xfrm>
            <a:off x="360363" y="3194050"/>
            <a:ext cx="2703814" cy="137636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29"/>
          </p:nvPr>
        </p:nvSpPr>
        <p:spPr>
          <a:xfrm>
            <a:off x="3219066" y="3194050"/>
            <a:ext cx="2703814" cy="137636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0"/>
          </p:nvPr>
        </p:nvSpPr>
        <p:spPr>
          <a:xfrm>
            <a:off x="6077769" y="3194050"/>
            <a:ext cx="2703814" cy="137636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9" name="Picture Placeholder 6"/>
          <p:cNvSpPr>
            <a:spLocks noGrp="1"/>
          </p:cNvSpPr>
          <p:nvPr>
            <p:ph type="pic" sz="quarter" idx="31" hasCustomPrompt="1"/>
          </p:nvPr>
        </p:nvSpPr>
        <p:spPr>
          <a:xfrm>
            <a:off x="357128" y="1223960"/>
            <a:ext cx="2707049" cy="1782765"/>
          </a:xfrm>
          <a:noFill/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  <p:sp>
        <p:nvSpPr>
          <p:cNvPr id="31" name="Rectangle 30"/>
          <p:cNvSpPr/>
          <p:nvPr userDrawn="1"/>
        </p:nvSpPr>
        <p:spPr>
          <a:xfrm>
            <a:off x="3233708" y="1223964"/>
            <a:ext cx="2698798" cy="17827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Picture Placeholder 6"/>
          <p:cNvSpPr>
            <a:spLocks noGrp="1"/>
          </p:cNvSpPr>
          <p:nvPr>
            <p:ph type="pic" sz="quarter" idx="32" hasCustomPrompt="1"/>
          </p:nvPr>
        </p:nvSpPr>
        <p:spPr>
          <a:xfrm>
            <a:off x="3225457" y="1223960"/>
            <a:ext cx="2707049" cy="1782765"/>
          </a:xfrm>
          <a:noFill/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  <p:sp>
        <p:nvSpPr>
          <p:cNvPr id="33" name="Rectangle 32"/>
          <p:cNvSpPr/>
          <p:nvPr userDrawn="1"/>
        </p:nvSpPr>
        <p:spPr>
          <a:xfrm>
            <a:off x="6082786" y="1223964"/>
            <a:ext cx="2698798" cy="17827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Picture Placeholder 6"/>
          <p:cNvSpPr>
            <a:spLocks noGrp="1"/>
          </p:cNvSpPr>
          <p:nvPr>
            <p:ph type="pic" sz="quarter" idx="33" hasCustomPrompt="1"/>
          </p:nvPr>
        </p:nvSpPr>
        <p:spPr>
          <a:xfrm>
            <a:off x="6074535" y="1223960"/>
            <a:ext cx="2707049" cy="1782765"/>
          </a:xfrm>
          <a:noFill/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</p:spTree>
    <p:extLst>
      <p:ext uri="{BB962C8B-B14F-4D97-AF65-F5344CB8AC3E}">
        <p14:creationId xmlns:p14="http://schemas.microsoft.com/office/powerpoint/2010/main" val="36841653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s &amp;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61425" y="519113"/>
            <a:ext cx="8421286" cy="70484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365378" y="1223963"/>
            <a:ext cx="4096624" cy="26749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8"/>
          </p:nvPr>
        </p:nvSpPr>
        <p:spPr>
          <a:xfrm>
            <a:off x="360363" y="4079875"/>
            <a:ext cx="4103687" cy="706438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  <a:endParaRPr lang="en-US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9"/>
          </p:nvPr>
        </p:nvSpPr>
        <p:spPr>
          <a:xfrm>
            <a:off x="4667668" y="4079875"/>
            <a:ext cx="4117557" cy="706438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  <a:endParaRPr lang="en-US" dirty="0"/>
          </a:p>
        </p:txBody>
      </p:sp>
      <p:sp>
        <p:nvSpPr>
          <p:cNvPr id="20" name="Picture Placeholder 6"/>
          <p:cNvSpPr>
            <a:spLocks noGrp="1"/>
          </p:cNvSpPr>
          <p:nvPr>
            <p:ph type="pic" sz="quarter" idx="30" hasCustomPrompt="1"/>
          </p:nvPr>
        </p:nvSpPr>
        <p:spPr>
          <a:xfrm>
            <a:off x="357128" y="1223960"/>
            <a:ext cx="4106922" cy="2674939"/>
          </a:xfrm>
          <a:noFill/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4670521" y="1223963"/>
            <a:ext cx="4112616" cy="26749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Picture Placeholder 6"/>
          <p:cNvSpPr>
            <a:spLocks noGrp="1"/>
          </p:cNvSpPr>
          <p:nvPr>
            <p:ph type="pic" sz="quarter" idx="31" hasCustomPrompt="1"/>
          </p:nvPr>
        </p:nvSpPr>
        <p:spPr>
          <a:xfrm>
            <a:off x="4662271" y="1223960"/>
            <a:ext cx="4122954" cy="2674939"/>
          </a:xfrm>
          <a:noFill/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</p:spTree>
    <p:extLst>
      <p:ext uri="{BB962C8B-B14F-4D97-AF65-F5344CB8AC3E}">
        <p14:creationId xmlns:p14="http://schemas.microsoft.com/office/powerpoint/2010/main" val="6639934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images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2497137" y="339727"/>
            <a:ext cx="1966913" cy="21241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6" hasCustomPrompt="1"/>
          </p:nvPr>
        </p:nvSpPr>
        <p:spPr>
          <a:xfrm>
            <a:off x="2496935" y="340910"/>
            <a:ext cx="1967115" cy="212282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362045" y="1225138"/>
            <a:ext cx="1957293" cy="28547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361972" y="520093"/>
            <a:ext cx="1963562" cy="70387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61972" y="4566949"/>
            <a:ext cx="1957293" cy="220951"/>
          </a:xfrm>
        </p:spPr>
        <p:txBody>
          <a:bodyPr anchor="b"/>
          <a:lstStyle>
            <a:lvl1pPr>
              <a:spcBef>
                <a:spcPts val="0"/>
              </a:spcBef>
              <a:defRPr sz="700" b="0"/>
            </a:lvl1pPr>
          </a:lstStyle>
          <a:p>
            <a:pPr lvl="0"/>
            <a:r>
              <a:rPr lang="en-US" dirty="0"/>
              <a:t>Source: enter text here</a:t>
            </a:r>
          </a:p>
        </p:txBody>
      </p:sp>
      <p:sp>
        <p:nvSpPr>
          <p:cNvPr id="27" name="Rectangle 26"/>
          <p:cNvSpPr/>
          <p:nvPr userDrawn="1"/>
        </p:nvSpPr>
        <p:spPr>
          <a:xfrm>
            <a:off x="4667634" y="339727"/>
            <a:ext cx="1966913" cy="21241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Picture Placeholder 6"/>
          <p:cNvSpPr>
            <a:spLocks noGrp="1"/>
          </p:cNvSpPr>
          <p:nvPr>
            <p:ph type="pic" sz="quarter" idx="27" hasCustomPrompt="1"/>
          </p:nvPr>
        </p:nvSpPr>
        <p:spPr>
          <a:xfrm>
            <a:off x="4667432" y="340910"/>
            <a:ext cx="1967115" cy="212282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  <p:sp>
        <p:nvSpPr>
          <p:cNvPr id="29" name="Rectangle 28"/>
          <p:cNvSpPr/>
          <p:nvPr userDrawn="1"/>
        </p:nvSpPr>
        <p:spPr>
          <a:xfrm>
            <a:off x="6814068" y="339727"/>
            <a:ext cx="1966913" cy="21241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Picture Placeholder 6"/>
          <p:cNvSpPr>
            <a:spLocks noGrp="1"/>
          </p:cNvSpPr>
          <p:nvPr>
            <p:ph type="pic" sz="quarter" idx="28" hasCustomPrompt="1"/>
          </p:nvPr>
        </p:nvSpPr>
        <p:spPr>
          <a:xfrm>
            <a:off x="6813866" y="340910"/>
            <a:ext cx="1967115" cy="212282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  <p:sp>
        <p:nvSpPr>
          <p:cNvPr id="37" name="Rectangle 36"/>
          <p:cNvSpPr/>
          <p:nvPr userDrawn="1"/>
        </p:nvSpPr>
        <p:spPr>
          <a:xfrm>
            <a:off x="2497137" y="2664228"/>
            <a:ext cx="1966913" cy="21241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8" name="Picture Placeholder 6"/>
          <p:cNvSpPr>
            <a:spLocks noGrp="1"/>
          </p:cNvSpPr>
          <p:nvPr>
            <p:ph type="pic" sz="quarter" idx="29" hasCustomPrompt="1"/>
          </p:nvPr>
        </p:nvSpPr>
        <p:spPr>
          <a:xfrm>
            <a:off x="2496935" y="2665411"/>
            <a:ext cx="1967115" cy="212282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  <p:sp>
        <p:nvSpPr>
          <p:cNvPr id="39" name="Rectangle 38"/>
          <p:cNvSpPr/>
          <p:nvPr userDrawn="1"/>
        </p:nvSpPr>
        <p:spPr>
          <a:xfrm>
            <a:off x="4667634" y="2664228"/>
            <a:ext cx="1966913" cy="21241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0" name="Picture Placeholder 6"/>
          <p:cNvSpPr>
            <a:spLocks noGrp="1"/>
          </p:cNvSpPr>
          <p:nvPr>
            <p:ph type="pic" sz="quarter" idx="30" hasCustomPrompt="1"/>
          </p:nvPr>
        </p:nvSpPr>
        <p:spPr>
          <a:xfrm>
            <a:off x="4667432" y="2665411"/>
            <a:ext cx="1967115" cy="212282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  <p:sp>
        <p:nvSpPr>
          <p:cNvPr id="41" name="Rectangle 40"/>
          <p:cNvSpPr/>
          <p:nvPr userDrawn="1"/>
        </p:nvSpPr>
        <p:spPr>
          <a:xfrm>
            <a:off x="6814068" y="2664228"/>
            <a:ext cx="1966913" cy="21241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" name="Picture Placeholder 6"/>
          <p:cNvSpPr>
            <a:spLocks noGrp="1"/>
          </p:cNvSpPr>
          <p:nvPr>
            <p:ph type="pic" sz="quarter" idx="31" hasCustomPrompt="1"/>
          </p:nvPr>
        </p:nvSpPr>
        <p:spPr>
          <a:xfrm>
            <a:off x="6813866" y="2665411"/>
            <a:ext cx="1967115" cy="212282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</p:spTree>
    <p:extLst>
      <p:ext uri="{BB962C8B-B14F-4D97-AF65-F5344CB8AC3E}">
        <p14:creationId xmlns:p14="http://schemas.microsoft.com/office/powerpoint/2010/main" val="58750067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&amp; tex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4" hasCustomPrompt="1"/>
          </p:nvPr>
        </p:nvSpPr>
        <p:spPr>
          <a:xfrm>
            <a:off x="4672117" y="4570413"/>
            <a:ext cx="4110586" cy="215225"/>
          </a:xfrm>
        </p:spPr>
        <p:txBody>
          <a:bodyPr anchor="b"/>
          <a:lstStyle>
            <a:lvl1pPr algn="r">
              <a:spcBef>
                <a:spcPts val="0"/>
              </a:spcBef>
              <a:defRPr sz="700" b="0"/>
            </a:lvl1pPr>
          </a:lstStyle>
          <a:p>
            <a:pPr lvl="0"/>
            <a:r>
              <a:rPr lang="en-US" dirty="0"/>
              <a:t>Source: enter text her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360202" y="1222780"/>
            <a:ext cx="1959138" cy="17838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Picture Placeholder 6"/>
          <p:cNvSpPr>
            <a:spLocks noGrp="1"/>
          </p:cNvSpPr>
          <p:nvPr>
            <p:ph type="pic" sz="quarter" idx="16" hasCustomPrompt="1"/>
          </p:nvPr>
        </p:nvSpPr>
        <p:spPr>
          <a:xfrm>
            <a:off x="359999" y="1223963"/>
            <a:ext cx="1959339" cy="178276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2501823" y="1222780"/>
            <a:ext cx="1959138" cy="17838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Picture Placeholder 6"/>
          <p:cNvSpPr>
            <a:spLocks noGrp="1"/>
          </p:cNvSpPr>
          <p:nvPr>
            <p:ph type="pic" sz="quarter" idx="25" hasCustomPrompt="1"/>
          </p:nvPr>
        </p:nvSpPr>
        <p:spPr>
          <a:xfrm>
            <a:off x="2501620" y="1223963"/>
            <a:ext cx="1959339" cy="178276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  <p:sp>
        <p:nvSpPr>
          <p:cNvPr id="27" name="Rectangle 26"/>
          <p:cNvSpPr/>
          <p:nvPr userDrawn="1"/>
        </p:nvSpPr>
        <p:spPr>
          <a:xfrm>
            <a:off x="4672320" y="1222780"/>
            <a:ext cx="1959138" cy="17838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Picture Placeholder 6"/>
          <p:cNvSpPr>
            <a:spLocks noGrp="1"/>
          </p:cNvSpPr>
          <p:nvPr>
            <p:ph type="pic" sz="quarter" idx="26" hasCustomPrompt="1"/>
          </p:nvPr>
        </p:nvSpPr>
        <p:spPr>
          <a:xfrm>
            <a:off x="4672117" y="1223963"/>
            <a:ext cx="1959339" cy="178276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  <p:sp>
        <p:nvSpPr>
          <p:cNvPr id="29" name="Rectangle 28"/>
          <p:cNvSpPr/>
          <p:nvPr userDrawn="1"/>
        </p:nvSpPr>
        <p:spPr>
          <a:xfrm>
            <a:off x="6823567" y="1222780"/>
            <a:ext cx="1959138" cy="17838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Picture Placeholder 6"/>
          <p:cNvSpPr>
            <a:spLocks noGrp="1"/>
          </p:cNvSpPr>
          <p:nvPr>
            <p:ph type="pic" sz="quarter" idx="27" hasCustomPrompt="1"/>
          </p:nvPr>
        </p:nvSpPr>
        <p:spPr>
          <a:xfrm>
            <a:off x="6823364" y="1223963"/>
            <a:ext cx="1959339" cy="178276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8"/>
          </p:nvPr>
        </p:nvSpPr>
        <p:spPr>
          <a:xfrm>
            <a:off x="360363" y="3194051"/>
            <a:ext cx="1958975" cy="1376258"/>
          </a:xfrm>
        </p:spPr>
        <p:txBody>
          <a:bodyPr/>
          <a:lstStyle>
            <a:lvl2pPr>
              <a:defRPr baseline="0"/>
            </a:lvl2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 </a:t>
            </a:r>
            <a:endParaRPr lang="en-US" dirty="0"/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29"/>
          </p:nvPr>
        </p:nvSpPr>
        <p:spPr>
          <a:xfrm>
            <a:off x="2497138" y="3194051"/>
            <a:ext cx="1958975" cy="1376258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  <a:endParaRPr lang="en-US" dirty="0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0"/>
          </p:nvPr>
        </p:nvSpPr>
        <p:spPr>
          <a:xfrm>
            <a:off x="4663336" y="3194051"/>
            <a:ext cx="1958975" cy="1376258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  <a:endParaRPr lang="en-US" dirty="0"/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31"/>
          </p:nvPr>
        </p:nvSpPr>
        <p:spPr>
          <a:xfrm>
            <a:off x="6826250" y="3194051"/>
            <a:ext cx="1958975" cy="1376258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8017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1227837"/>
            <a:ext cx="9142413" cy="39156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227837"/>
            <a:ext cx="9143999" cy="3915664"/>
          </a:xfrm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GB"/>
              <a:t>Drag &amp; drop image here or delete to place other content</a:t>
            </a:r>
          </a:p>
        </p:txBody>
      </p:sp>
      <p:sp>
        <p:nvSpPr>
          <p:cNvPr id="6" name="Text Placeholder 14"/>
          <p:cNvSpPr>
            <a:spLocks noGrp="1"/>
          </p:cNvSpPr>
          <p:nvPr>
            <p:ph type="body" sz="quarter" idx="24" hasCustomPrompt="1"/>
          </p:nvPr>
        </p:nvSpPr>
        <p:spPr>
          <a:xfrm>
            <a:off x="4672117" y="4570413"/>
            <a:ext cx="4110586" cy="215225"/>
          </a:xfrm>
        </p:spPr>
        <p:txBody>
          <a:bodyPr anchor="b"/>
          <a:lstStyle>
            <a:lvl1pPr algn="r">
              <a:spcBef>
                <a:spcPts val="0"/>
              </a:spcBef>
              <a:defRPr sz="700" b="0"/>
            </a:lvl1pPr>
          </a:lstStyle>
          <a:p>
            <a:pPr lvl="0"/>
            <a:r>
              <a:rPr lang="en-US" dirty="0"/>
              <a:t>Source: enter text here</a:t>
            </a:r>
          </a:p>
        </p:txBody>
      </p:sp>
    </p:spTree>
    <p:extLst>
      <p:ext uri="{BB962C8B-B14F-4D97-AF65-F5344CB8AC3E}">
        <p14:creationId xmlns:p14="http://schemas.microsoft.com/office/powerpoint/2010/main" val="109267744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/>
          <p:cNvSpPr>
            <a:spLocks noGrp="1"/>
          </p:cNvSpPr>
          <p:nvPr>
            <p:ph type="body" sz="quarter" idx="24" hasCustomPrompt="1"/>
          </p:nvPr>
        </p:nvSpPr>
        <p:spPr>
          <a:xfrm>
            <a:off x="4672117" y="4838211"/>
            <a:ext cx="4110586" cy="121492"/>
          </a:xfrm>
        </p:spPr>
        <p:txBody>
          <a:bodyPr anchor="b"/>
          <a:lstStyle>
            <a:lvl1pPr algn="r">
              <a:spcBef>
                <a:spcPts val="0"/>
              </a:spcBef>
              <a:defRPr sz="700" b="1"/>
            </a:lvl1pPr>
          </a:lstStyle>
          <a:p>
            <a:pPr lvl="0"/>
            <a:r>
              <a:rPr lang="en-US" dirty="0"/>
              <a:t>Source: enter text here</a:t>
            </a:r>
          </a:p>
        </p:txBody>
      </p:sp>
      <p:sp>
        <p:nvSpPr>
          <p:cNvPr id="29" name="Rectangle 28"/>
          <p:cNvSpPr/>
          <p:nvPr userDrawn="1"/>
        </p:nvSpPr>
        <p:spPr>
          <a:xfrm>
            <a:off x="359378" y="2664010"/>
            <a:ext cx="4104452" cy="21240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Picture Placeholder 6"/>
          <p:cNvSpPr>
            <a:spLocks noGrp="1"/>
          </p:cNvSpPr>
          <p:nvPr>
            <p:ph type="pic" sz="quarter" idx="26" hasCustomPrompt="1"/>
          </p:nvPr>
        </p:nvSpPr>
        <p:spPr>
          <a:xfrm>
            <a:off x="359176" y="2665178"/>
            <a:ext cx="4104874" cy="212272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  <p:sp>
        <p:nvSpPr>
          <p:cNvPr id="33" name="Rectangle 32"/>
          <p:cNvSpPr/>
          <p:nvPr userDrawn="1"/>
        </p:nvSpPr>
        <p:spPr>
          <a:xfrm>
            <a:off x="359378" y="339509"/>
            <a:ext cx="4104452" cy="21240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Picture Placeholder 6"/>
          <p:cNvSpPr>
            <a:spLocks noGrp="1"/>
          </p:cNvSpPr>
          <p:nvPr>
            <p:ph type="pic" sz="quarter" idx="28" hasCustomPrompt="1"/>
          </p:nvPr>
        </p:nvSpPr>
        <p:spPr>
          <a:xfrm>
            <a:off x="359176" y="340677"/>
            <a:ext cx="4104874" cy="212272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  <p:sp>
        <p:nvSpPr>
          <p:cNvPr id="35" name="Rectangle 34"/>
          <p:cNvSpPr/>
          <p:nvPr userDrawn="1"/>
        </p:nvSpPr>
        <p:spPr>
          <a:xfrm>
            <a:off x="4664278" y="2664010"/>
            <a:ext cx="4116483" cy="21240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6" name="Picture Placeholder 6"/>
          <p:cNvSpPr>
            <a:spLocks noGrp="1"/>
          </p:cNvSpPr>
          <p:nvPr>
            <p:ph type="pic" sz="quarter" idx="29" hasCustomPrompt="1"/>
          </p:nvPr>
        </p:nvSpPr>
        <p:spPr>
          <a:xfrm>
            <a:off x="4664075" y="2665178"/>
            <a:ext cx="4116906" cy="212272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  <p:sp>
        <p:nvSpPr>
          <p:cNvPr id="37" name="Rectangle 36"/>
          <p:cNvSpPr/>
          <p:nvPr userDrawn="1"/>
        </p:nvSpPr>
        <p:spPr>
          <a:xfrm>
            <a:off x="4664278" y="339509"/>
            <a:ext cx="4116483" cy="21240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8" name="Picture Placeholder 6"/>
          <p:cNvSpPr>
            <a:spLocks noGrp="1"/>
          </p:cNvSpPr>
          <p:nvPr>
            <p:ph type="pic" sz="quarter" idx="30" hasCustomPrompt="1"/>
          </p:nvPr>
        </p:nvSpPr>
        <p:spPr>
          <a:xfrm>
            <a:off x="4664075" y="340677"/>
            <a:ext cx="4116906" cy="212272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US"/>
              <a:t>Drag &amp; drop to place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1"/>
          </p:nvPr>
        </p:nvSpPr>
        <p:spPr>
          <a:xfrm>
            <a:off x="576263" y="519113"/>
            <a:ext cx="3671887" cy="1778000"/>
          </a:xfrm>
        </p:spPr>
        <p:txBody>
          <a:bodyPr anchor="ctr"/>
          <a:lstStyle>
            <a:lvl1pPr algn="ctr">
              <a:lnSpc>
                <a:spcPct val="100000"/>
              </a:lnSpc>
              <a:defRPr sz="20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9" name="Text Placeholder 3"/>
          <p:cNvSpPr>
            <a:spLocks noGrp="1"/>
          </p:cNvSpPr>
          <p:nvPr>
            <p:ph type="body" sz="quarter" idx="32"/>
          </p:nvPr>
        </p:nvSpPr>
        <p:spPr>
          <a:xfrm>
            <a:off x="4893620" y="519113"/>
            <a:ext cx="3671887" cy="1778000"/>
          </a:xfrm>
        </p:spPr>
        <p:txBody>
          <a:bodyPr anchor="ctr"/>
          <a:lstStyle>
            <a:lvl1pPr algn="ctr">
              <a:lnSpc>
                <a:spcPct val="100000"/>
              </a:lnSpc>
              <a:defRPr sz="20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33"/>
          </p:nvPr>
        </p:nvSpPr>
        <p:spPr>
          <a:xfrm>
            <a:off x="576263" y="2845624"/>
            <a:ext cx="3671887" cy="1778000"/>
          </a:xfrm>
        </p:spPr>
        <p:txBody>
          <a:bodyPr anchor="ctr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34"/>
          </p:nvPr>
        </p:nvSpPr>
        <p:spPr>
          <a:xfrm>
            <a:off x="4893620" y="2845624"/>
            <a:ext cx="3671887" cy="1778000"/>
          </a:xfrm>
        </p:spPr>
        <p:txBody>
          <a:bodyPr anchor="ctr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656603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852587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1223963"/>
            <a:ext cx="9142413" cy="39195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223963"/>
            <a:ext cx="9143999" cy="3919537"/>
          </a:xfrm>
        </p:spPr>
        <p:txBody>
          <a:bodyPr anchor="ctr"/>
          <a:lstStyle>
            <a:lvl1pPr marL="0" marR="0" indent="-133202" algn="ctr" defTabSz="914411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b="0"/>
            </a:lvl1pPr>
          </a:lstStyle>
          <a:p>
            <a:r>
              <a:rPr lang="en-GB"/>
              <a:t>Drag &amp; drop image here or delete to place other content</a:t>
            </a:r>
          </a:p>
        </p:txBody>
      </p:sp>
      <p:sp>
        <p:nvSpPr>
          <p:cNvPr id="6" name="Text Placeholder 14"/>
          <p:cNvSpPr>
            <a:spLocks noGrp="1"/>
          </p:cNvSpPr>
          <p:nvPr>
            <p:ph type="body" sz="quarter" idx="24" hasCustomPrompt="1"/>
          </p:nvPr>
        </p:nvSpPr>
        <p:spPr>
          <a:xfrm>
            <a:off x="4672117" y="4570413"/>
            <a:ext cx="4110586" cy="215225"/>
          </a:xfrm>
        </p:spPr>
        <p:txBody>
          <a:bodyPr anchor="b"/>
          <a:lstStyle>
            <a:lvl1pPr algn="r">
              <a:spcBef>
                <a:spcPts val="0"/>
              </a:spcBef>
              <a:defRPr sz="700" b="0"/>
            </a:lvl1pPr>
          </a:lstStyle>
          <a:p>
            <a:pPr lvl="0"/>
            <a:r>
              <a:rPr lang="en-US" dirty="0"/>
              <a:t>Source: enter text here</a:t>
            </a:r>
          </a:p>
        </p:txBody>
      </p:sp>
    </p:spTree>
    <p:extLst>
      <p:ext uri="{BB962C8B-B14F-4D97-AF65-F5344CB8AC3E}">
        <p14:creationId xmlns:p14="http://schemas.microsoft.com/office/powerpoint/2010/main" val="42215138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He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2497138" y="5556"/>
            <a:ext cx="6646862" cy="513794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972" y="520093"/>
            <a:ext cx="1963562" cy="70387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2503407" y="0"/>
            <a:ext cx="6640593" cy="5143501"/>
          </a:xfrm>
        </p:spPr>
        <p:txBody>
          <a:bodyPr anchor="ctr"/>
          <a:lstStyle>
            <a:lvl1pPr algn="ctr">
              <a:defRPr sz="1000" b="0" baseline="0"/>
            </a:lvl1pPr>
          </a:lstStyle>
          <a:p>
            <a:r>
              <a:rPr lang="en-GB"/>
              <a:t>Drag &amp; drop image here or delete to place other content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61972" y="4566949"/>
            <a:ext cx="1957293" cy="220951"/>
          </a:xfrm>
        </p:spPr>
        <p:txBody>
          <a:bodyPr anchor="b"/>
          <a:lstStyle>
            <a:lvl1pPr>
              <a:spcBef>
                <a:spcPts val="0"/>
              </a:spcBef>
              <a:defRPr sz="700" b="0"/>
            </a:lvl1pPr>
          </a:lstStyle>
          <a:p>
            <a:pPr lvl="0"/>
            <a:r>
              <a:rPr lang="en-US" dirty="0"/>
              <a:t>Source: enter text her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26"/>
          </p:nvPr>
        </p:nvSpPr>
        <p:spPr>
          <a:xfrm>
            <a:off x="361972" y="1223964"/>
            <a:ext cx="1957293" cy="2855912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490252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7019180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5"/>
          <p:cNvSpPr>
            <a:spLocks noGrp="1" noChangeArrowheads="1"/>
          </p:cNvSpPr>
          <p:nvPr>
            <p:ph type="body" idx="1"/>
          </p:nvPr>
        </p:nvSpPr>
        <p:spPr>
          <a:xfrm>
            <a:off x="185737" y="778287"/>
            <a:ext cx="8701943" cy="32949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buClr>
                <a:srgbClr val="A71930"/>
              </a:buClr>
              <a:buFontTx/>
              <a:buBlip>
                <a:blip r:embed="rId2"/>
              </a:buBlip>
              <a:defRPr sz="1350" b="0">
                <a:latin typeface="Calibri" panose="020F0502020204030204" pitchFamily="34" charset="0"/>
                <a:cs typeface="Arial" pitchFamily="34" charset="0"/>
              </a:defRPr>
            </a:lvl1pPr>
            <a:lvl2pPr>
              <a:spcBef>
                <a:spcPts val="0"/>
              </a:spcBef>
              <a:buClr>
                <a:srgbClr val="A71930"/>
              </a:buClr>
              <a:defRPr sz="1350" b="0">
                <a:latin typeface="Calibri" panose="020F0502020204030204" pitchFamily="34" charset="0"/>
              </a:defRPr>
            </a:lvl2pPr>
            <a:lvl3pPr>
              <a:spcBef>
                <a:spcPts val="0"/>
              </a:spcBef>
              <a:buClr>
                <a:srgbClr val="A71930"/>
              </a:buClr>
              <a:defRPr sz="1350" b="0">
                <a:latin typeface="Calibri" panose="020F0502020204030204" pitchFamily="34" charset="0"/>
              </a:defRPr>
            </a:lvl3pPr>
            <a:lvl4pPr>
              <a:spcBef>
                <a:spcPts val="0"/>
              </a:spcBef>
              <a:buClr>
                <a:srgbClr val="A71930"/>
              </a:buClr>
              <a:defRPr sz="1350" b="0">
                <a:latin typeface="Calibri" panose="020F0502020204030204" pitchFamily="34" charset="0"/>
              </a:defRPr>
            </a:lvl4pPr>
            <a:lvl5pPr>
              <a:spcBef>
                <a:spcPts val="0"/>
              </a:spcBef>
              <a:buClr>
                <a:srgbClr val="A71930"/>
              </a:buClr>
              <a:defRPr sz="1350" b="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Rectangle 4"/>
          <p:cNvSpPr>
            <a:spLocks noGrp="1" noChangeArrowheads="1"/>
          </p:cNvSpPr>
          <p:nvPr>
            <p:ph type="title"/>
          </p:nvPr>
        </p:nvSpPr>
        <p:spPr>
          <a:xfrm>
            <a:off x="1" y="1"/>
            <a:ext cx="7416800" cy="716056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algn="l">
              <a:lnSpc>
                <a:spcPts val="1875"/>
              </a:lnSpc>
              <a:defRPr sz="2100" b="1" baseline="0">
                <a:solidFill>
                  <a:schemeClr val="tx2"/>
                </a:solidFill>
                <a:latin typeface="Calibri" panose="020F0502020204030204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 Placeholder 4"/>
          <p:cNvSpPr txBox="1">
            <a:spLocks/>
          </p:cNvSpPr>
          <p:nvPr userDrawn="1"/>
        </p:nvSpPr>
        <p:spPr bwMode="auto">
          <a:xfrm>
            <a:off x="8842315" y="4947294"/>
            <a:ext cx="301686" cy="207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algn="r">
              <a:defRPr/>
            </a:pPr>
            <a:fld id="{6A1AA2C5-B4DB-426C-B3E5-890CC5D98970}" type="slidenum">
              <a:rPr lang="en-US" sz="750" b="0">
                <a:solidFill>
                  <a:schemeClr val="tx1"/>
                </a:solidFill>
                <a:cs typeface="Arial" charset="0"/>
              </a:rPr>
              <a:pPr algn="r">
                <a:defRPr/>
              </a:pPr>
              <a:t>‹#›</a:t>
            </a:fld>
            <a:endParaRPr lang="en-US" sz="750" b="0">
              <a:solidFill>
                <a:schemeClr val="tx1"/>
              </a:solidFill>
              <a:cs typeface="Arial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AB8FFA88-8326-4BB8-86B4-84824C6C0F05}"/>
              </a:ext>
            </a:extLst>
          </p:cNvPr>
          <p:cNvGrpSpPr/>
          <p:nvPr userDrawn="1"/>
        </p:nvGrpSpPr>
        <p:grpSpPr>
          <a:xfrm>
            <a:off x="84406" y="4414545"/>
            <a:ext cx="9059594" cy="495886"/>
            <a:chOff x="1" y="4927210"/>
            <a:chExt cx="12079458" cy="661181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A383969-ADA7-4008-881E-4AF4A6169B59}"/>
                </a:ext>
              </a:extLst>
            </p:cNvPr>
            <p:cNvSpPr/>
            <p:nvPr/>
          </p:nvSpPr>
          <p:spPr>
            <a:xfrm>
              <a:off x="1" y="5257801"/>
              <a:ext cx="11050012" cy="58503"/>
            </a:xfrm>
            <a:prstGeom prst="rect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E" sz="1350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4310950F-3F0A-4E8C-9110-51B12BAEC3FE}"/>
                </a:ext>
              </a:extLst>
            </p:cNvPr>
            <p:cNvSpPr/>
            <p:nvPr/>
          </p:nvSpPr>
          <p:spPr>
            <a:xfrm>
              <a:off x="1" y="5316304"/>
              <a:ext cx="11050012" cy="4571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E" sz="1350"/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36CF47E5-DA9B-400D-B712-8E5CFB08717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050013" y="4927210"/>
              <a:ext cx="1029446" cy="661181"/>
            </a:xfrm>
            <a:prstGeom prst="rect">
              <a:avLst/>
            </a:prstGeom>
          </p:spPr>
        </p:pic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D2131BA8-9E50-4030-99C8-26371C0EB85C}"/>
              </a:ext>
            </a:extLst>
          </p:cNvPr>
          <p:cNvPicPr/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5899" y="0"/>
            <a:ext cx="1668101" cy="699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292964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One Bullet Column - Lines 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66345" y="1143000"/>
            <a:ext cx="8211311" cy="3310128"/>
          </a:xfrm>
        </p:spPr>
        <p:txBody>
          <a:bodyPr/>
          <a:lstStyle>
            <a:lvl1pPr marL="174621" indent="-17462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/>
              <a:buChar char="•"/>
              <a:defRPr sz="1400" b="0">
                <a:solidFill>
                  <a:schemeClr val="tx1"/>
                </a:solidFill>
              </a:defRPr>
            </a:lvl1pPr>
            <a:lvl2pPr marL="341305" indent="-17462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ucida Grande"/>
              <a:buChar char="-"/>
              <a:defRPr sz="1400" b="0">
                <a:solidFill>
                  <a:schemeClr val="tx1"/>
                </a:solidFill>
              </a:defRPr>
            </a:lvl2pPr>
            <a:lvl3pPr marL="509576" indent="-17462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ucida Grande"/>
              <a:buChar char="-"/>
              <a:tabLst>
                <a:tab pos="630222" algn="l"/>
                <a:tab pos="687371" algn="l"/>
              </a:tabLst>
              <a:defRPr sz="1400" b="0">
                <a:solidFill>
                  <a:schemeClr val="tx1"/>
                </a:solidFill>
              </a:defRPr>
            </a:lvl3pPr>
            <a:lvl4pPr marL="744520" indent="-184145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574661" algn="l"/>
                <a:tab pos="854054" algn="l"/>
              </a:tabLst>
              <a:defRPr sz="1400" b="0">
                <a:solidFill>
                  <a:schemeClr val="tx1"/>
                </a:solidFill>
              </a:defRPr>
            </a:lvl4pPr>
            <a:lvl5pPr marL="912791" indent="-184145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511163" algn="l"/>
              </a:tabLst>
              <a:defRPr sz="14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3" name="LogoDark"/>
          <p:cNvGrpSpPr>
            <a:grpSpLocks noChangeAspect="1"/>
          </p:cNvGrpSpPr>
          <p:nvPr/>
        </p:nvGrpSpPr>
        <p:grpSpPr bwMode="auto">
          <a:xfrm>
            <a:off x="7788131" y="4662926"/>
            <a:ext cx="1097280" cy="313476"/>
            <a:chOff x="444" y="928"/>
            <a:chExt cx="4869" cy="1391"/>
          </a:xfrm>
          <a:solidFill>
            <a:schemeClr val="tx1"/>
          </a:solidFill>
        </p:grpSpPr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5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7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9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81577C7-C20B-4E75-8C29-94D46379FC8C}" type="slidenum">
              <a:rPr lang="en-IE" smtClean="0"/>
              <a:t>‹#›</a:t>
            </a:fld>
            <a:endParaRPr lang="en-IE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524957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ext &amp; Objec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008" y="1143000"/>
            <a:ext cx="2845113" cy="33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3708400" y="1143000"/>
            <a:ext cx="4967288" cy="33083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2" name="LogoDark"/>
          <p:cNvGrpSpPr>
            <a:grpSpLocks noChangeAspect="1"/>
          </p:cNvGrpSpPr>
          <p:nvPr/>
        </p:nvGrpSpPr>
        <p:grpSpPr bwMode="auto">
          <a:xfrm>
            <a:off x="7788131" y="4662926"/>
            <a:ext cx="1097280" cy="313476"/>
            <a:chOff x="444" y="928"/>
            <a:chExt cx="4869" cy="1391"/>
          </a:xfrm>
          <a:solidFill>
            <a:schemeClr val="tx1"/>
          </a:solidFill>
        </p:grpSpPr>
        <p:sp>
          <p:nvSpPr>
            <p:cNvPr id="13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4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5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6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7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8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1577C7-C20B-4E75-8C29-94D46379FC8C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80292496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indshare Cover Slide (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>
            <a:grpSpLocks noChangeAspect="1"/>
          </p:cNvGrpSpPr>
          <p:nvPr userDrawn="1"/>
        </p:nvGrpSpPr>
        <p:grpSpPr>
          <a:xfrm>
            <a:off x="556546" y="1881242"/>
            <a:ext cx="1548000" cy="476913"/>
            <a:chOff x="5043330" y="2582427"/>
            <a:chExt cx="2714033" cy="836158"/>
          </a:xfrm>
        </p:grpSpPr>
        <p:pic>
          <p:nvPicPr>
            <p:cNvPr id="27" name="logo graphic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21205" y="2582427"/>
              <a:ext cx="836158" cy="836158"/>
            </a:xfrm>
            <a:prstGeom prst="rect">
              <a:avLst/>
            </a:prstGeom>
          </p:spPr>
        </p:pic>
        <p:grpSp>
          <p:nvGrpSpPr>
            <p:cNvPr id="28" name="letters"/>
            <p:cNvGrpSpPr/>
            <p:nvPr/>
          </p:nvGrpSpPr>
          <p:grpSpPr>
            <a:xfrm>
              <a:off x="5043330" y="2901718"/>
              <a:ext cx="1777426" cy="197580"/>
              <a:chOff x="566670" y="435864"/>
              <a:chExt cx="1169700" cy="130025"/>
            </a:xfrm>
            <a:solidFill>
              <a:schemeClr val="tx1"/>
            </a:solidFill>
          </p:grpSpPr>
          <p:sp>
            <p:nvSpPr>
              <p:cNvPr id="29" name="Freeform 6"/>
              <p:cNvSpPr>
                <a:spLocks/>
              </p:cNvSpPr>
              <p:nvPr/>
            </p:nvSpPr>
            <p:spPr bwMode="auto">
              <a:xfrm>
                <a:off x="566670" y="437296"/>
                <a:ext cx="146069" cy="127448"/>
              </a:xfrm>
              <a:custGeom>
                <a:avLst/>
                <a:gdLst>
                  <a:gd name="T0" fmla="*/ 216 w 216"/>
                  <a:gd name="T1" fmla="*/ 188 h 188"/>
                  <a:gd name="T2" fmla="*/ 178 w 216"/>
                  <a:gd name="T3" fmla="*/ 188 h 188"/>
                  <a:gd name="T4" fmla="*/ 178 w 216"/>
                  <a:gd name="T5" fmla="*/ 66 h 188"/>
                  <a:gd name="T6" fmla="*/ 113 w 216"/>
                  <a:gd name="T7" fmla="*/ 145 h 188"/>
                  <a:gd name="T8" fmla="*/ 103 w 216"/>
                  <a:gd name="T9" fmla="*/ 145 h 188"/>
                  <a:gd name="T10" fmla="*/ 38 w 216"/>
                  <a:gd name="T11" fmla="*/ 66 h 188"/>
                  <a:gd name="T12" fmla="*/ 38 w 216"/>
                  <a:gd name="T13" fmla="*/ 188 h 188"/>
                  <a:gd name="T14" fmla="*/ 0 w 216"/>
                  <a:gd name="T15" fmla="*/ 188 h 188"/>
                  <a:gd name="T16" fmla="*/ 0 w 216"/>
                  <a:gd name="T17" fmla="*/ 20 h 188"/>
                  <a:gd name="T18" fmla="*/ 20 w 216"/>
                  <a:gd name="T19" fmla="*/ 0 h 188"/>
                  <a:gd name="T20" fmla="*/ 20 w 216"/>
                  <a:gd name="T21" fmla="*/ 0 h 188"/>
                  <a:gd name="T22" fmla="*/ 38 w 216"/>
                  <a:gd name="T23" fmla="*/ 9 h 188"/>
                  <a:gd name="T24" fmla="*/ 108 w 216"/>
                  <a:gd name="T25" fmla="*/ 94 h 188"/>
                  <a:gd name="T26" fmla="*/ 182 w 216"/>
                  <a:gd name="T27" fmla="*/ 6 h 188"/>
                  <a:gd name="T28" fmla="*/ 196 w 216"/>
                  <a:gd name="T29" fmla="*/ 0 h 188"/>
                  <a:gd name="T30" fmla="*/ 196 w 216"/>
                  <a:gd name="T31" fmla="*/ 0 h 188"/>
                  <a:gd name="T32" fmla="*/ 216 w 216"/>
                  <a:gd name="T33" fmla="*/ 19 h 188"/>
                  <a:gd name="T34" fmla="*/ 216 w 216"/>
                  <a:gd name="T35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16" h="188">
                    <a:moveTo>
                      <a:pt x="216" y="188"/>
                    </a:moveTo>
                    <a:cubicBezTo>
                      <a:pt x="178" y="188"/>
                      <a:pt x="178" y="188"/>
                      <a:pt x="178" y="188"/>
                    </a:cubicBezTo>
                    <a:cubicBezTo>
                      <a:pt x="178" y="66"/>
                      <a:pt x="178" y="66"/>
                      <a:pt x="178" y="66"/>
                    </a:cubicBezTo>
                    <a:cubicBezTo>
                      <a:pt x="113" y="145"/>
                      <a:pt x="113" y="145"/>
                      <a:pt x="113" y="145"/>
                    </a:cubicBezTo>
                    <a:cubicBezTo>
                      <a:pt x="110" y="148"/>
                      <a:pt x="106" y="148"/>
                      <a:pt x="103" y="145"/>
                    </a:cubicBezTo>
                    <a:cubicBezTo>
                      <a:pt x="38" y="66"/>
                      <a:pt x="38" y="66"/>
                      <a:pt x="38" y="66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8" y="0"/>
                      <a:pt x="32" y="3"/>
                      <a:pt x="38" y="9"/>
                    </a:cubicBezTo>
                    <a:cubicBezTo>
                      <a:pt x="108" y="94"/>
                      <a:pt x="108" y="94"/>
                      <a:pt x="108" y="94"/>
                    </a:cubicBezTo>
                    <a:cubicBezTo>
                      <a:pt x="182" y="6"/>
                      <a:pt x="182" y="6"/>
                      <a:pt x="182" y="6"/>
                    </a:cubicBezTo>
                    <a:cubicBezTo>
                      <a:pt x="185" y="2"/>
                      <a:pt x="190" y="0"/>
                      <a:pt x="196" y="0"/>
                    </a:cubicBezTo>
                    <a:cubicBezTo>
                      <a:pt x="196" y="0"/>
                      <a:pt x="196" y="0"/>
                      <a:pt x="196" y="0"/>
                    </a:cubicBezTo>
                    <a:cubicBezTo>
                      <a:pt x="207" y="0"/>
                      <a:pt x="216" y="8"/>
                      <a:pt x="216" y="19"/>
                    </a:cubicBezTo>
                    <a:lnTo>
                      <a:pt x="216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0" name="Freeform 7"/>
              <p:cNvSpPr>
                <a:spLocks noEditPoints="1"/>
              </p:cNvSpPr>
              <p:nvPr/>
            </p:nvSpPr>
            <p:spPr bwMode="auto">
              <a:xfrm>
                <a:off x="1350862" y="436723"/>
                <a:ext cx="146069" cy="128020"/>
              </a:xfrm>
              <a:custGeom>
                <a:avLst/>
                <a:gdLst>
                  <a:gd name="T0" fmla="*/ 0 w 216"/>
                  <a:gd name="T1" fmla="*/ 189 h 189"/>
                  <a:gd name="T2" fmla="*/ 42 w 216"/>
                  <a:gd name="T3" fmla="*/ 189 h 189"/>
                  <a:gd name="T4" fmla="*/ 66 w 216"/>
                  <a:gd name="T5" fmla="*/ 138 h 189"/>
                  <a:gd name="T6" fmla="*/ 148 w 216"/>
                  <a:gd name="T7" fmla="*/ 138 h 189"/>
                  <a:gd name="T8" fmla="*/ 174 w 216"/>
                  <a:gd name="T9" fmla="*/ 189 h 189"/>
                  <a:gd name="T10" fmla="*/ 216 w 216"/>
                  <a:gd name="T11" fmla="*/ 189 h 189"/>
                  <a:gd name="T12" fmla="*/ 124 w 216"/>
                  <a:gd name="T13" fmla="*/ 9 h 189"/>
                  <a:gd name="T14" fmla="*/ 106 w 216"/>
                  <a:gd name="T15" fmla="*/ 0 h 189"/>
                  <a:gd name="T16" fmla="*/ 106 w 216"/>
                  <a:gd name="T17" fmla="*/ 0 h 189"/>
                  <a:gd name="T18" fmla="*/ 89 w 216"/>
                  <a:gd name="T19" fmla="*/ 9 h 189"/>
                  <a:gd name="T20" fmla="*/ 0 w 216"/>
                  <a:gd name="T21" fmla="*/ 189 h 189"/>
                  <a:gd name="T22" fmla="*/ 106 w 216"/>
                  <a:gd name="T23" fmla="*/ 55 h 189"/>
                  <a:gd name="T24" fmla="*/ 133 w 216"/>
                  <a:gd name="T25" fmla="*/ 108 h 189"/>
                  <a:gd name="T26" fmla="*/ 81 w 216"/>
                  <a:gd name="T27" fmla="*/ 108 h 189"/>
                  <a:gd name="T28" fmla="*/ 106 w 216"/>
                  <a:gd name="T29" fmla="*/ 55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16" h="189">
                    <a:moveTo>
                      <a:pt x="0" y="189"/>
                    </a:moveTo>
                    <a:cubicBezTo>
                      <a:pt x="42" y="189"/>
                      <a:pt x="42" y="189"/>
                      <a:pt x="42" y="189"/>
                    </a:cubicBezTo>
                    <a:cubicBezTo>
                      <a:pt x="66" y="138"/>
                      <a:pt x="66" y="138"/>
                      <a:pt x="66" y="138"/>
                    </a:cubicBezTo>
                    <a:cubicBezTo>
                      <a:pt x="148" y="138"/>
                      <a:pt x="148" y="138"/>
                      <a:pt x="148" y="138"/>
                    </a:cubicBezTo>
                    <a:cubicBezTo>
                      <a:pt x="174" y="189"/>
                      <a:pt x="174" y="189"/>
                      <a:pt x="174" y="189"/>
                    </a:cubicBezTo>
                    <a:cubicBezTo>
                      <a:pt x="216" y="189"/>
                      <a:pt x="216" y="189"/>
                      <a:pt x="216" y="189"/>
                    </a:cubicBezTo>
                    <a:cubicBezTo>
                      <a:pt x="124" y="9"/>
                      <a:pt x="124" y="9"/>
                      <a:pt x="124" y="9"/>
                    </a:cubicBezTo>
                    <a:cubicBezTo>
                      <a:pt x="120" y="3"/>
                      <a:pt x="114" y="0"/>
                      <a:pt x="106" y="0"/>
                    </a:cubicBezTo>
                    <a:cubicBezTo>
                      <a:pt x="106" y="0"/>
                      <a:pt x="106" y="0"/>
                      <a:pt x="106" y="0"/>
                    </a:cubicBezTo>
                    <a:cubicBezTo>
                      <a:pt x="99" y="0"/>
                      <a:pt x="93" y="3"/>
                      <a:pt x="89" y="9"/>
                    </a:cubicBezTo>
                    <a:lnTo>
                      <a:pt x="0" y="189"/>
                    </a:lnTo>
                    <a:close/>
                    <a:moveTo>
                      <a:pt x="106" y="55"/>
                    </a:moveTo>
                    <a:cubicBezTo>
                      <a:pt x="133" y="108"/>
                      <a:pt x="133" y="108"/>
                      <a:pt x="133" y="108"/>
                    </a:cubicBezTo>
                    <a:cubicBezTo>
                      <a:pt x="81" y="108"/>
                      <a:pt x="81" y="108"/>
                      <a:pt x="81" y="108"/>
                    </a:cubicBezTo>
                    <a:lnTo>
                      <a:pt x="106" y="5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1" name="Freeform 8"/>
              <p:cNvSpPr>
                <a:spLocks/>
              </p:cNvSpPr>
              <p:nvPr/>
            </p:nvSpPr>
            <p:spPr bwMode="auto">
              <a:xfrm>
                <a:off x="789211" y="437296"/>
                <a:ext cx="128598" cy="127448"/>
              </a:xfrm>
              <a:custGeom>
                <a:avLst/>
                <a:gdLst>
                  <a:gd name="T0" fmla="*/ 190 w 190"/>
                  <a:gd name="T1" fmla="*/ 188 h 188"/>
                  <a:gd name="T2" fmla="*/ 163 w 190"/>
                  <a:gd name="T3" fmla="*/ 188 h 188"/>
                  <a:gd name="T4" fmla="*/ 38 w 190"/>
                  <a:gd name="T5" fmla="*/ 62 h 188"/>
                  <a:gd name="T6" fmla="*/ 38 w 190"/>
                  <a:gd name="T7" fmla="*/ 188 h 188"/>
                  <a:gd name="T8" fmla="*/ 0 w 190"/>
                  <a:gd name="T9" fmla="*/ 188 h 188"/>
                  <a:gd name="T10" fmla="*/ 0 w 190"/>
                  <a:gd name="T11" fmla="*/ 20 h 188"/>
                  <a:gd name="T12" fmla="*/ 21 w 190"/>
                  <a:gd name="T13" fmla="*/ 0 h 188"/>
                  <a:gd name="T14" fmla="*/ 21 w 190"/>
                  <a:gd name="T15" fmla="*/ 0 h 188"/>
                  <a:gd name="T16" fmla="*/ 36 w 190"/>
                  <a:gd name="T17" fmla="*/ 6 h 188"/>
                  <a:gd name="T18" fmla="*/ 152 w 190"/>
                  <a:gd name="T19" fmla="*/ 123 h 188"/>
                  <a:gd name="T20" fmla="*/ 152 w 190"/>
                  <a:gd name="T21" fmla="*/ 12 h 188"/>
                  <a:gd name="T22" fmla="*/ 165 w 190"/>
                  <a:gd name="T23" fmla="*/ 0 h 188"/>
                  <a:gd name="T24" fmla="*/ 178 w 190"/>
                  <a:gd name="T25" fmla="*/ 0 h 188"/>
                  <a:gd name="T26" fmla="*/ 190 w 190"/>
                  <a:gd name="T27" fmla="*/ 12 h 188"/>
                  <a:gd name="T28" fmla="*/ 190 w 190"/>
                  <a:gd name="T29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0" h="188">
                    <a:moveTo>
                      <a:pt x="190" y="188"/>
                    </a:moveTo>
                    <a:cubicBezTo>
                      <a:pt x="163" y="188"/>
                      <a:pt x="163" y="188"/>
                      <a:pt x="163" y="188"/>
                    </a:cubicBezTo>
                    <a:cubicBezTo>
                      <a:pt x="38" y="62"/>
                      <a:pt x="38" y="62"/>
                      <a:pt x="38" y="62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1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7" y="0"/>
                      <a:pt x="32" y="2"/>
                      <a:pt x="36" y="6"/>
                    </a:cubicBezTo>
                    <a:cubicBezTo>
                      <a:pt x="152" y="123"/>
                      <a:pt x="152" y="123"/>
                      <a:pt x="152" y="123"/>
                    </a:cubicBezTo>
                    <a:cubicBezTo>
                      <a:pt x="152" y="12"/>
                      <a:pt x="152" y="12"/>
                      <a:pt x="152" y="12"/>
                    </a:cubicBezTo>
                    <a:cubicBezTo>
                      <a:pt x="152" y="5"/>
                      <a:pt x="158" y="0"/>
                      <a:pt x="165" y="0"/>
                    </a:cubicBezTo>
                    <a:cubicBezTo>
                      <a:pt x="178" y="0"/>
                      <a:pt x="178" y="0"/>
                      <a:pt x="178" y="0"/>
                    </a:cubicBezTo>
                    <a:cubicBezTo>
                      <a:pt x="185" y="0"/>
                      <a:pt x="190" y="5"/>
                      <a:pt x="190" y="12"/>
                    </a:cubicBezTo>
                    <a:lnTo>
                      <a:pt x="190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2" name="Freeform 9"/>
              <p:cNvSpPr>
                <a:spLocks noEditPoints="1"/>
              </p:cNvSpPr>
              <p:nvPr/>
            </p:nvSpPr>
            <p:spPr bwMode="auto">
              <a:xfrm>
                <a:off x="943586" y="437296"/>
                <a:ext cx="127739" cy="127448"/>
              </a:xfrm>
              <a:custGeom>
                <a:avLst/>
                <a:gdLst>
                  <a:gd name="T0" fmla="*/ 117 w 189"/>
                  <a:gd name="T1" fmla="*/ 4 h 188"/>
                  <a:gd name="T2" fmla="*/ 72 w 189"/>
                  <a:gd name="T3" fmla="*/ 0 h 188"/>
                  <a:gd name="T4" fmla="*/ 19 w 189"/>
                  <a:gd name="T5" fmla="*/ 0 h 188"/>
                  <a:gd name="T6" fmla="*/ 0 w 189"/>
                  <a:gd name="T7" fmla="*/ 18 h 188"/>
                  <a:gd name="T8" fmla="*/ 0 w 189"/>
                  <a:gd name="T9" fmla="*/ 188 h 188"/>
                  <a:gd name="T10" fmla="*/ 62 w 189"/>
                  <a:gd name="T11" fmla="*/ 188 h 188"/>
                  <a:gd name="T12" fmla="*/ 115 w 189"/>
                  <a:gd name="T13" fmla="*/ 182 h 188"/>
                  <a:gd name="T14" fmla="*/ 189 w 189"/>
                  <a:gd name="T15" fmla="*/ 91 h 188"/>
                  <a:gd name="T16" fmla="*/ 117 w 189"/>
                  <a:gd name="T17" fmla="*/ 4 h 188"/>
                  <a:gd name="T18" fmla="*/ 105 w 189"/>
                  <a:gd name="T19" fmla="*/ 148 h 188"/>
                  <a:gd name="T20" fmla="*/ 62 w 189"/>
                  <a:gd name="T21" fmla="*/ 153 h 188"/>
                  <a:gd name="T22" fmla="*/ 62 w 189"/>
                  <a:gd name="T23" fmla="*/ 153 h 188"/>
                  <a:gd name="T24" fmla="*/ 38 w 189"/>
                  <a:gd name="T25" fmla="*/ 153 h 188"/>
                  <a:gd name="T26" fmla="*/ 38 w 189"/>
                  <a:gd name="T27" fmla="*/ 153 h 188"/>
                  <a:gd name="T28" fmla="*/ 38 w 189"/>
                  <a:gd name="T29" fmla="*/ 34 h 188"/>
                  <a:gd name="T30" fmla="*/ 38 w 189"/>
                  <a:gd name="T31" fmla="*/ 34 h 188"/>
                  <a:gd name="T32" fmla="*/ 68 w 189"/>
                  <a:gd name="T33" fmla="*/ 34 h 188"/>
                  <a:gd name="T34" fmla="*/ 68 w 189"/>
                  <a:gd name="T35" fmla="*/ 34 h 188"/>
                  <a:gd name="T36" fmla="*/ 107 w 189"/>
                  <a:gd name="T37" fmla="*/ 38 h 188"/>
                  <a:gd name="T38" fmla="*/ 150 w 189"/>
                  <a:gd name="T39" fmla="*/ 91 h 188"/>
                  <a:gd name="T40" fmla="*/ 105 w 189"/>
                  <a:gd name="T41" fmla="*/ 14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89" h="188">
                    <a:moveTo>
                      <a:pt x="117" y="4"/>
                    </a:moveTo>
                    <a:cubicBezTo>
                      <a:pt x="104" y="1"/>
                      <a:pt x="89" y="0"/>
                      <a:pt x="72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9" y="0"/>
                      <a:pt x="0" y="8"/>
                      <a:pt x="0" y="1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62" y="188"/>
                      <a:pt x="62" y="188"/>
                      <a:pt x="62" y="188"/>
                    </a:cubicBezTo>
                    <a:cubicBezTo>
                      <a:pt x="84" y="188"/>
                      <a:pt x="100" y="186"/>
                      <a:pt x="115" y="182"/>
                    </a:cubicBezTo>
                    <a:cubicBezTo>
                      <a:pt x="163" y="168"/>
                      <a:pt x="189" y="136"/>
                      <a:pt x="189" y="91"/>
                    </a:cubicBezTo>
                    <a:cubicBezTo>
                      <a:pt x="189" y="46"/>
                      <a:pt x="164" y="15"/>
                      <a:pt x="117" y="4"/>
                    </a:cubicBezTo>
                    <a:close/>
                    <a:moveTo>
                      <a:pt x="105" y="148"/>
                    </a:moveTo>
                    <a:cubicBezTo>
                      <a:pt x="94" y="151"/>
                      <a:pt x="79" y="153"/>
                      <a:pt x="62" y="153"/>
                    </a:cubicBezTo>
                    <a:cubicBezTo>
                      <a:pt x="62" y="153"/>
                      <a:pt x="62" y="153"/>
                      <a:pt x="62" y="153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68" y="34"/>
                      <a:pt x="68" y="34"/>
                      <a:pt x="68" y="34"/>
                    </a:cubicBezTo>
                    <a:cubicBezTo>
                      <a:pt x="68" y="34"/>
                      <a:pt x="68" y="34"/>
                      <a:pt x="68" y="34"/>
                    </a:cubicBezTo>
                    <a:cubicBezTo>
                      <a:pt x="86" y="34"/>
                      <a:pt x="97" y="35"/>
                      <a:pt x="107" y="38"/>
                    </a:cubicBezTo>
                    <a:cubicBezTo>
                      <a:pt x="136" y="46"/>
                      <a:pt x="150" y="63"/>
                      <a:pt x="150" y="91"/>
                    </a:cubicBezTo>
                    <a:cubicBezTo>
                      <a:pt x="150" y="120"/>
                      <a:pt x="135" y="139"/>
                      <a:pt x="105" y="14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3" name="Freeform 10"/>
              <p:cNvSpPr>
                <a:spLocks noEditPoints="1"/>
              </p:cNvSpPr>
              <p:nvPr/>
            </p:nvSpPr>
            <p:spPr bwMode="auto">
              <a:xfrm>
                <a:off x="1513256" y="437296"/>
                <a:ext cx="110841" cy="127448"/>
              </a:xfrm>
              <a:custGeom>
                <a:avLst/>
                <a:gdLst>
                  <a:gd name="T0" fmla="*/ 113 w 164"/>
                  <a:gd name="T1" fmla="*/ 113 h 188"/>
                  <a:gd name="T2" fmla="*/ 158 w 164"/>
                  <a:gd name="T3" fmla="*/ 58 h 188"/>
                  <a:gd name="T4" fmla="*/ 82 w 164"/>
                  <a:gd name="T5" fmla="*/ 0 h 188"/>
                  <a:gd name="T6" fmla="*/ 19 w 164"/>
                  <a:gd name="T7" fmla="*/ 0 h 188"/>
                  <a:gd name="T8" fmla="*/ 0 w 164"/>
                  <a:gd name="T9" fmla="*/ 18 h 188"/>
                  <a:gd name="T10" fmla="*/ 0 w 164"/>
                  <a:gd name="T11" fmla="*/ 188 h 188"/>
                  <a:gd name="T12" fmla="*/ 38 w 164"/>
                  <a:gd name="T13" fmla="*/ 188 h 188"/>
                  <a:gd name="T14" fmla="*/ 38 w 164"/>
                  <a:gd name="T15" fmla="*/ 118 h 188"/>
                  <a:gd name="T16" fmla="*/ 72 w 164"/>
                  <a:gd name="T17" fmla="*/ 118 h 188"/>
                  <a:gd name="T18" fmla="*/ 119 w 164"/>
                  <a:gd name="T19" fmla="*/ 188 h 188"/>
                  <a:gd name="T20" fmla="*/ 164 w 164"/>
                  <a:gd name="T21" fmla="*/ 188 h 188"/>
                  <a:gd name="T22" fmla="*/ 113 w 164"/>
                  <a:gd name="T23" fmla="*/ 113 h 188"/>
                  <a:gd name="T24" fmla="*/ 38 w 164"/>
                  <a:gd name="T25" fmla="*/ 83 h 188"/>
                  <a:gd name="T26" fmla="*/ 38 w 164"/>
                  <a:gd name="T27" fmla="*/ 34 h 188"/>
                  <a:gd name="T28" fmla="*/ 85 w 164"/>
                  <a:gd name="T29" fmla="*/ 34 h 188"/>
                  <a:gd name="T30" fmla="*/ 118 w 164"/>
                  <a:gd name="T31" fmla="*/ 59 h 188"/>
                  <a:gd name="T32" fmla="*/ 77 w 164"/>
                  <a:gd name="T33" fmla="*/ 83 h 188"/>
                  <a:gd name="T34" fmla="*/ 38 w 164"/>
                  <a:gd name="T35" fmla="*/ 83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4" h="188">
                    <a:moveTo>
                      <a:pt x="113" y="113"/>
                    </a:moveTo>
                    <a:cubicBezTo>
                      <a:pt x="142" y="105"/>
                      <a:pt x="158" y="86"/>
                      <a:pt x="158" y="58"/>
                    </a:cubicBezTo>
                    <a:cubicBezTo>
                      <a:pt x="158" y="22"/>
                      <a:pt x="129" y="0"/>
                      <a:pt x="82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8" y="0"/>
                      <a:pt x="0" y="8"/>
                      <a:pt x="0" y="1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38" y="118"/>
                      <a:pt x="38" y="118"/>
                      <a:pt x="38" y="118"/>
                    </a:cubicBezTo>
                    <a:cubicBezTo>
                      <a:pt x="72" y="118"/>
                      <a:pt x="72" y="118"/>
                      <a:pt x="72" y="118"/>
                    </a:cubicBezTo>
                    <a:cubicBezTo>
                      <a:pt x="119" y="188"/>
                      <a:pt x="119" y="188"/>
                      <a:pt x="119" y="188"/>
                    </a:cubicBezTo>
                    <a:cubicBezTo>
                      <a:pt x="164" y="188"/>
                      <a:pt x="164" y="188"/>
                      <a:pt x="164" y="188"/>
                    </a:cubicBezTo>
                    <a:lnTo>
                      <a:pt x="113" y="113"/>
                    </a:lnTo>
                    <a:close/>
                    <a:moveTo>
                      <a:pt x="38" y="83"/>
                    </a:moveTo>
                    <a:cubicBezTo>
                      <a:pt x="38" y="34"/>
                      <a:pt x="38" y="34"/>
                      <a:pt x="38" y="34"/>
                    </a:cubicBezTo>
                    <a:cubicBezTo>
                      <a:pt x="85" y="34"/>
                      <a:pt x="85" y="34"/>
                      <a:pt x="85" y="34"/>
                    </a:cubicBezTo>
                    <a:cubicBezTo>
                      <a:pt x="98" y="34"/>
                      <a:pt x="118" y="38"/>
                      <a:pt x="118" y="59"/>
                    </a:cubicBezTo>
                    <a:cubicBezTo>
                      <a:pt x="118" y="69"/>
                      <a:pt x="114" y="83"/>
                      <a:pt x="77" y="83"/>
                    </a:cubicBezTo>
                    <a:lnTo>
                      <a:pt x="38" y="8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5" name="Freeform 11"/>
              <p:cNvSpPr>
                <a:spLocks/>
              </p:cNvSpPr>
              <p:nvPr/>
            </p:nvSpPr>
            <p:spPr bwMode="auto">
              <a:xfrm>
                <a:off x="738516" y="437296"/>
                <a:ext cx="25777" cy="127448"/>
              </a:xfrm>
              <a:custGeom>
                <a:avLst/>
                <a:gdLst>
                  <a:gd name="T0" fmla="*/ 0 w 38"/>
                  <a:gd name="T1" fmla="*/ 188 h 188"/>
                  <a:gd name="T2" fmla="*/ 38 w 38"/>
                  <a:gd name="T3" fmla="*/ 188 h 188"/>
                  <a:gd name="T4" fmla="*/ 38 w 38"/>
                  <a:gd name="T5" fmla="*/ 12 h 188"/>
                  <a:gd name="T6" fmla="*/ 25 w 38"/>
                  <a:gd name="T7" fmla="*/ 0 h 188"/>
                  <a:gd name="T8" fmla="*/ 13 w 38"/>
                  <a:gd name="T9" fmla="*/ 0 h 188"/>
                  <a:gd name="T10" fmla="*/ 0 w 38"/>
                  <a:gd name="T11" fmla="*/ 12 h 188"/>
                  <a:gd name="T12" fmla="*/ 0 w 38"/>
                  <a:gd name="T13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" h="188">
                    <a:moveTo>
                      <a:pt x="0" y="188"/>
                    </a:moveTo>
                    <a:cubicBezTo>
                      <a:pt x="38" y="188"/>
                      <a:pt x="38" y="188"/>
                      <a:pt x="38" y="188"/>
                    </a:cubicBezTo>
                    <a:cubicBezTo>
                      <a:pt x="38" y="12"/>
                      <a:pt x="38" y="12"/>
                      <a:pt x="38" y="12"/>
                    </a:cubicBezTo>
                    <a:cubicBezTo>
                      <a:pt x="38" y="5"/>
                      <a:pt x="32" y="0"/>
                      <a:pt x="25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0" y="5"/>
                      <a:pt x="0" y="12"/>
                    </a:cubicBezTo>
                    <a:lnTo>
                      <a:pt x="0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6" name="Freeform 12"/>
              <p:cNvSpPr>
                <a:spLocks/>
              </p:cNvSpPr>
              <p:nvPr/>
            </p:nvSpPr>
            <p:spPr bwMode="auto">
              <a:xfrm>
                <a:off x="1217394" y="437296"/>
                <a:ext cx="118001" cy="127448"/>
              </a:xfrm>
              <a:custGeom>
                <a:avLst/>
                <a:gdLst>
                  <a:gd name="T0" fmla="*/ 174 w 174"/>
                  <a:gd name="T1" fmla="*/ 188 h 188"/>
                  <a:gd name="T2" fmla="*/ 137 w 174"/>
                  <a:gd name="T3" fmla="*/ 188 h 188"/>
                  <a:gd name="T4" fmla="*/ 137 w 174"/>
                  <a:gd name="T5" fmla="*/ 110 h 188"/>
                  <a:gd name="T6" fmla="*/ 38 w 174"/>
                  <a:gd name="T7" fmla="*/ 110 h 188"/>
                  <a:gd name="T8" fmla="*/ 38 w 174"/>
                  <a:gd name="T9" fmla="*/ 188 h 188"/>
                  <a:gd name="T10" fmla="*/ 0 w 174"/>
                  <a:gd name="T11" fmla="*/ 188 h 188"/>
                  <a:gd name="T12" fmla="*/ 0 w 174"/>
                  <a:gd name="T13" fmla="*/ 12 h 188"/>
                  <a:gd name="T14" fmla="*/ 13 w 174"/>
                  <a:gd name="T15" fmla="*/ 0 h 188"/>
                  <a:gd name="T16" fmla="*/ 25 w 174"/>
                  <a:gd name="T17" fmla="*/ 0 h 188"/>
                  <a:gd name="T18" fmla="*/ 38 w 174"/>
                  <a:gd name="T19" fmla="*/ 12 h 188"/>
                  <a:gd name="T20" fmla="*/ 38 w 174"/>
                  <a:gd name="T21" fmla="*/ 75 h 188"/>
                  <a:gd name="T22" fmla="*/ 137 w 174"/>
                  <a:gd name="T23" fmla="*/ 75 h 188"/>
                  <a:gd name="T24" fmla="*/ 137 w 174"/>
                  <a:gd name="T25" fmla="*/ 12 h 188"/>
                  <a:gd name="T26" fmla="*/ 149 w 174"/>
                  <a:gd name="T27" fmla="*/ 0 h 188"/>
                  <a:gd name="T28" fmla="*/ 162 w 174"/>
                  <a:gd name="T29" fmla="*/ 0 h 188"/>
                  <a:gd name="T30" fmla="*/ 174 w 174"/>
                  <a:gd name="T31" fmla="*/ 12 h 188"/>
                  <a:gd name="T32" fmla="*/ 174 w 174"/>
                  <a:gd name="T33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4" h="188">
                    <a:moveTo>
                      <a:pt x="174" y="188"/>
                    </a:moveTo>
                    <a:cubicBezTo>
                      <a:pt x="137" y="188"/>
                      <a:pt x="137" y="188"/>
                      <a:pt x="137" y="188"/>
                    </a:cubicBezTo>
                    <a:cubicBezTo>
                      <a:pt x="137" y="110"/>
                      <a:pt x="137" y="110"/>
                      <a:pt x="137" y="110"/>
                    </a:cubicBezTo>
                    <a:cubicBezTo>
                      <a:pt x="38" y="110"/>
                      <a:pt x="38" y="110"/>
                      <a:pt x="38" y="110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6" y="0"/>
                      <a:pt x="13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32" y="0"/>
                      <a:pt x="38" y="5"/>
                      <a:pt x="38" y="12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137" y="75"/>
                      <a:pt x="137" y="75"/>
                      <a:pt x="137" y="75"/>
                    </a:cubicBezTo>
                    <a:cubicBezTo>
                      <a:pt x="137" y="12"/>
                      <a:pt x="137" y="12"/>
                      <a:pt x="137" y="12"/>
                    </a:cubicBezTo>
                    <a:cubicBezTo>
                      <a:pt x="137" y="5"/>
                      <a:pt x="142" y="0"/>
                      <a:pt x="149" y="0"/>
                    </a:cubicBezTo>
                    <a:cubicBezTo>
                      <a:pt x="162" y="0"/>
                      <a:pt x="162" y="0"/>
                      <a:pt x="162" y="0"/>
                    </a:cubicBezTo>
                    <a:cubicBezTo>
                      <a:pt x="169" y="0"/>
                      <a:pt x="174" y="5"/>
                      <a:pt x="174" y="12"/>
                    </a:cubicBezTo>
                    <a:lnTo>
                      <a:pt x="174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7" name="Freeform 13"/>
              <p:cNvSpPr>
                <a:spLocks/>
              </p:cNvSpPr>
              <p:nvPr/>
            </p:nvSpPr>
            <p:spPr bwMode="auto">
              <a:xfrm>
                <a:off x="1085646" y="435864"/>
                <a:ext cx="108836" cy="130025"/>
              </a:xfrm>
              <a:custGeom>
                <a:avLst/>
                <a:gdLst>
                  <a:gd name="T0" fmla="*/ 90 w 161"/>
                  <a:gd name="T1" fmla="*/ 78 h 192"/>
                  <a:gd name="T2" fmla="*/ 46 w 161"/>
                  <a:gd name="T3" fmla="*/ 56 h 192"/>
                  <a:gd name="T4" fmla="*/ 83 w 161"/>
                  <a:gd name="T5" fmla="*/ 36 h 192"/>
                  <a:gd name="T6" fmla="*/ 139 w 161"/>
                  <a:gd name="T7" fmla="*/ 49 h 192"/>
                  <a:gd name="T8" fmla="*/ 140 w 161"/>
                  <a:gd name="T9" fmla="*/ 49 h 192"/>
                  <a:gd name="T10" fmla="*/ 145 w 161"/>
                  <a:gd name="T11" fmla="*/ 47 h 192"/>
                  <a:gd name="T12" fmla="*/ 156 w 161"/>
                  <a:gd name="T13" fmla="*/ 25 h 192"/>
                  <a:gd name="T14" fmla="*/ 156 w 161"/>
                  <a:gd name="T15" fmla="*/ 23 h 192"/>
                  <a:gd name="T16" fmla="*/ 153 w 161"/>
                  <a:gd name="T17" fmla="*/ 18 h 192"/>
                  <a:gd name="T18" fmla="*/ 152 w 161"/>
                  <a:gd name="T19" fmla="*/ 17 h 192"/>
                  <a:gd name="T20" fmla="*/ 81 w 161"/>
                  <a:gd name="T21" fmla="*/ 0 h 192"/>
                  <a:gd name="T22" fmla="*/ 7 w 161"/>
                  <a:gd name="T23" fmla="*/ 57 h 192"/>
                  <a:gd name="T24" fmla="*/ 25 w 161"/>
                  <a:gd name="T25" fmla="*/ 96 h 192"/>
                  <a:gd name="T26" fmla="*/ 80 w 161"/>
                  <a:gd name="T27" fmla="*/ 113 h 192"/>
                  <a:gd name="T28" fmla="*/ 122 w 161"/>
                  <a:gd name="T29" fmla="*/ 133 h 192"/>
                  <a:gd name="T30" fmla="*/ 78 w 161"/>
                  <a:gd name="T31" fmla="*/ 157 h 192"/>
                  <a:gd name="T32" fmla="*/ 22 w 161"/>
                  <a:gd name="T33" fmla="*/ 142 h 192"/>
                  <a:gd name="T34" fmla="*/ 18 w 161"/>
                  <a:gd name="T35" fmla="*/ 139 h 192"/>
                  <a:gd name="T36" fmla="*/ 15 w 161"/>
                  <a:gd name="T37" fmla="*/ 143 h 192"/>
                  <a:gd name="T38" fmla="*/ 2 w 161"/>
                  <a:gd name="T39" fmla="*/ 166 h 192"/>
                  <a:gd name="T40" fmla="*/ 0 w 161"/>
                  <a:gd name="T41" fmla="*/ 170 h 192"/>
                  <a:gd name="T42" fmla="*/ 4 w 161"/>
                  <a:gd name="T43" fmla="*/ 172 h 192"/>
                  <a:gd name="T44" fmla="*/ 77 w 161"/>
                  <a:gd name="T45" fmla="*/ 192 h 192"/>
                  <a:gd name="T46" fmla="*/ 161 w 161"/>
                  <a:gd name="T47" fmla="*/ 132 h 192"/>
                  <a:gd name="T48" fmla="*/ 90 w 161"/>
                  <a:gd name="T49" fmla="*/ 78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61" h="192">
                    <a:moveTo>
                      <a:pt x="90" y="78"/>
                    </a:moveTo>
                    <a:cubicBezTo>
                      <a:pt x="63" y="74"/>
                      <a:pt x="46" y="71"/>
                      <a:pt x="46" y="56"/>
                    </a:cubicBezTo>
                    <a:cubicBezTo>
                      <a:pt x="46" y="43"/>
                      <a:pt x="60" y="36"/>
                      <a:pt x="83" y="36"/>
                    </a:cubicBezTo>
                    <a:cubicBezTo>
                      <a:pt x="109" y="36"/>
                      <a:pt x="130" y="45"/>
                      <a:pt x="139" y="49"/>
                    </a:cubicBezTo>
                    <a:cubicBezTo>
                      <a:pt x="139" y="49"/>
                      <a:pt x="139" y="49"/>
                      <a:pt x="140" y="49"/>
                    </a:cubicBezTo>
                    <a:cubicBezTo>
                      <a:pt x="142" y="49"/>
                      <a:pt x="144" y="49"/>
                      <a:pt x="145" y="47"/>
                    </a:cubicBezTo>
                    <a:cubicBezTo>
                      <a:pt x="156" y="25"/>
                      <a:pt x="156" y="25"/>
                      <a:pt x="156" y="25"/>
                    </a:cubicBezTo>
                    <a:cubicBezTo>
                      <a:pt x="156" y="24"/>
                      <a:pt x="156" y="23"/>
                      <a:pt x="156" y="23"/>
                    </a:cubicBezTo>
                    <a:cubicBezTo>
                      <a:pt x="156" y="21"/>
                      <a:pt x="155" y="19"/>
                      <a:pt x="153" y="18"/>
                    </a:cubicBezTo>
                    <a:cubicBezTo>
                      <a:pt x="152" y="17"/>
                      <a:pt x="152" y="17"/>
                      <a:pt x="152" y="17"/>
                    </a:cubicBezTo>
                    <a:cubicBezTo>
                      <a:pt x="133" y="7"/>
                      <a:pt x="106" y="0"/>
                      <a:pt x="81" y="0"/>
                    </a:cubicBezTo>
                    <a:cubicBezTo>
                      <a:pt x="35" y="0"/>
                      <a:pt x="7" y="22"/>
                      <a:pt x="7" y="57"/>
                    </a:cubicBezTo>
                    <a:cubicBezTo>
                      <a:pt x="7" y="75"/>
                      <a:pt x="13" y="87"/>
                      <a:pt x="25" y="96"/>
                    </a:cubicBezTo>
                    <a:cubicBezTo>
                      <a:pt x="40" y="107"/>
                      <a:pt x="61" y="110"/>
                      <a:pt x="80" y="113"/>
                    </a:cubicBezTo>
                    <a:cubicBezTo>
                      <a:pt x="106" y="117"/>
                      <a:pt x="122" y="119"/>
                      <a:pt x="122" y="133"/>
                    </a:cubicBezTo>
                    <a:cubicBezTo>
                      <a:pt x="122" y="155"/>
                      <a:pt x="91" y="157"/>
                      <a:pt x="78" y="157"/>
                    </a:cubicBezTo>
                    <a:cubicBezTo>
                      <a:pt x="57" y="157"/>
                      <a:pt x="38" y="152"/>
                      <a:pt x="22" y="142"/>
                    </a:cubicBezTo>
                    <a:cubicBezTo>
                      <a:pt x="18" y="139"/>
                      <a:pt x="18" y="139"/>
                      <a:pt x="18" y="139"/>
                    </a:cubicBezTo>
                    <a:cubicBezTo>
                      <a:pt x="15" y="143"/>
                      <a:pt x="15" y="143"/>
                      <a:pt x="15" y="143"/>
                    </a:cubicBezTo>
                    <a:cubicBezTo>
                      <a:pt x="2" y="166"/>
                      <a:pt x="2" y="166"/>
                      <a:pt x="2" y="166"/>
                    </a:cubicBezTo>
                    <a:cubicBezTo>
                      <a:pt x="0" y="170"/>
                      <a:pt x="0" y="170"/>
                      <a:pt x="0" y="170"/>
                    </a:cubicBezTo>
                    <a:cubicBezTo>
                      <a:pt x="4" y="172"/>
                      <a:pt x="4" y="172"/>
                      <a:pt x="4" y="172"/>
                    </a:cubicBezTo>
                    <a:cubicBezTo>
                      <a:pt x="18" y="181"/>
                      <a:pt x="42" y="192"/>
                      <a:pt x="77" y="192"/>
                    </a:cubicBezTo>
                    <a:cubicBezTo>
                      <a:pt x="128" y="192"/>
                      <a:pt x="161" y="169"/>
                      <a:pt x="161" y="132"/>
                    </a:cubicBezTo>
                    <a:cubicBezTo>
                      <a:pt x="161" y="88"/>
                      <a:pt x="122" y="82"/>
                      <a:pt x="90" y="7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8" name="Freeform 14"/>
              <p:cNvSpPr>
                <a:spLocks/>
              </p:cNvSpPr>
              <p:nvPr/>
            </p:nvSpPr>
            <p:spPr bwMode="auto">
              <a:xfrm>
                <a:off x="1642427" y="437296"/>
                <a:ext cx="93943" cy="127448"/>
              </a:xfrm>
              <a:custGeom>
                <a:avLst/>
                <a:gdLst>
                  <a:gd name="T0" fmla="*/ 128 w 139"/>
                  <a:gd name="T1" fmla="*/ 103 h 188"/>
                  <a:gd name="T2" fmla="*/ 121 w 139"/>
                  <a:gd name="T3" fmla="*/ 110 h 188"/>
                  <a:gd name="T4" fmla="*/ 38 w 139"/>
                  <a:gd name="T5" fmla="*/ 110 h 188"/>
                  <a:gd name="T6" fmla="*/ 38 w 139"/>
                  <a:gd name="T7" fmla="*/ 153 h 188"/>
                  <a:gd name="T8" fmla="*/ 139 w 139"/>
                  <a:gd name="T9" fmla="*/ 153 h 188"/>
                  <a:gd name="T10" fmla="*/ 139 w 139"/>
                  <a:gd name="T11" fmla="*/ 188 h 188"/>
                  <a:gd name="T12" fmla="*/ 0 w 139"/>
                  <a:gd name="T13" fmla="*/ 188 h 188"/>
                  <a:gd name="T14" fmla="*/ 0 w 139"/>
                  <a:gd name="T15" fmla="*/ 18 h 188"/>
                  <a:gd name="T16" fmla="*/ 19 w 139"/>
                  <a:gd name="T17" fmla="*/ 0 h 188"/>
                  <a:gd name="T18" fmla="*/ 130 w 139"/>
                  <a:gd name="T19" fmla="*/ 0 h 188"/>
                  <a:gd name="T20" fmla="*/ 137 w 139"/>
                  <a:gd name="T21" fmla="*/ 6 h 188"/>
                  <a:gd name="T22" fmla="*/ 137 w 139"/>
                  <a:gd name="T23" fmla="*/ 27 h 188"/>
                  <a:gd name="T24" fmla="*/ 130 w 139"/>
                  <a:gd name="T25" fmla="*/ 34 h 188"/>
                  <a:gd name="T26" fmla="*/ 38 w 139"/>
                  <a:gd name="T27" fmla="*/ 34 h 188"/>
                  <a:gd name="T28" fmla="*/ 38 w 139"/>
                  <a:gd name="T29" fmla="*/ 75 h 188"/>
                  <a:gd name="T30" fmla="*/ 121 w 139"/>
                  <a:gd name="T31" fmla="*/ 75 h 188"/>
                  <a:gd name="T32" fmla="*/ 128 w 139"/>
                  <a:gd name="T33" fmla="*/ 82 h 188"/>
                  <a:gd name="T34" fmla="*/ 128 w 139"/>
                  <a:gd name="T35" fmla="*/ 103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9" h="188">
                    <a:moveTo>
                      <a:pt x="128" y="103"/>
                    </a:moveTo>
                    <a:cubicBezTo>
                      <a:pt x="128" y="107"/>
                      <a:pt x="124" y="110"/>
                      <a:pt x="121" y="110"/>
                    </a:cubicBezTo>
                    <a:cubicBezTo>
                      <a:pt x="38" y="110"/>
                      <a:pt x="38" y="110"/>
                      <a:pt x="38" y="110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139" y="153"/>
                      <a:pt x="139" y="153"/>
                      <a:pt x="139" y="153"/>
                    </a:cubicBezTo>
                    <a:cubicBezTo>
                      <a:pt x="139" y="188"/>
                      <a:pt x="139" y="188"/>
                      <a:pt x="139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9" y="0"/>
                      <a:pt x="19" y="0"/>
                    </a:cubicBezTo>
                    <a:cubicBezTo>
                      <a:pt x="130" y="0"/>
                      <a:pt x="130" y="0"/>
                      <a:pt x="130" y="0"/>
                    </a:cubicBezTo>
                    <a:cubicBezTo>
                      <a:pt x="134" y="0"/>
                      <a:pt x="137" y="2"/>
                      <a:pt x="137" y="6"/>
                    </a:cubicBezTo>
                    <a:cubicBezTo>
                      <a:pt x="137" y="27"/>
                      <a:pt x="137" y="27"/>
                      <a:pt x="137" y="27"/>
                    </a:cubicBezTo>
                    <a:cubicBezTo>
                      <a:pt x="137" y="32"/>
                      <a:pt x="134" y="34"/>
                      <a:pt x="130" y="34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121" y="75"/>
                      <a:pt x="121" y="75"/>
                      <a:pt x="121" y="75"/>
                    </a:cubicBezTo>
                    <a:cubicBezTo>
                      <a:pt x="124" y="75"/>
                      <a:pt x="128" y="77"/>
                      <a:pt x="128" y="82"/>
                    </a:cubicBezTo>
                    <a:lnTo>
                      <a:pt x="128" y="10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</p:grpSp>
      </p:grpSp>
      <p:sp>
        <p:nvSpPr>
          <p:cNvPr id="22" name="Title 1"/>
          <p:cNvSpPr>
            <a:spLocks noGrp="1"/>
          </p:cNvSpPr>
          <p:nvPr>
            <p:ph type="ctrTitle" hasCustomPrompt="1"/>
          </p:nvPr>
        </p:nvSpPr>
        <p:spPr>
          <a:xfrm>
            <a:off x="2502568" y="1424539"/>
            <a:ext cx="6282657" cy="1583356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2800" cap="all" baseline="0"/>
            </a:lvl1pPr>
          </a:lstStyle>
          <a:p>
            <a:r>
              <a:rPr lang="en-GB" dirty="0"/>
              <a:t>MINDSHARE Presentation title</a:t>
            </a:r>
          </a:p>
        </p:txBody>
      </p:sp>
      <p:sp>
        <p:nvSpPr>
          <p:cNvPr id="2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497138" y="3194050"/>
            <a:ext cx="6281737" cy="704850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400" b="1" cap="none" baseline="0">
                <a:solidFill>
                  <a:schemeClr val="tx2"/>
                </a:solidFill>
              </a:defRPr>
            </a:lvl1pPr>
            <a:lvl2pPr marL="457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ubtitle</a:t>
            </a:r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358546" y="1223963"/>
            <a:ext cx="1960792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2485058" y="3016973"/>
            <a:ext cx="63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 userDrawn="1"/>
        </p:nvCxnSpPr>
        <p:spPr>
          <a:xfrm>
            <a:off x="2497138" y="1223963"/>
            <a:ext cx="628792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23309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 Client Cover Slide (Image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497138" y="1414463"/>
            <a:ext cx="6287920" cy="1592262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2800" cap="all" baseline="0"/>
            </a:lvl1pPr>
          </a:lstStyle>
          <a:p>
            <a:r>
              <a:rPr lang="en-GB" dirty="0"/>
              <a:t>CLIENT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503387" y="3193541"/>
            <a:ext cx="6281737" cy="705359"/>
          </a:xfrm>
        </p:spPr>
        <p:txBody>
          <a:bodyPr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400" b="1" cap="none" baseline="0">
                <a:solidFill>
                  <a:schemeClr val="tx2"/>
                </a:solidFill>
              </a:defRPr>
            </a:lvl1pPr>
            <a:lvl2pPr marL="457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ubtitle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2485058" y="3016973"/>
            <a:ext cx="63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663796" y="1414463"/>
            <a:ext cx="1333500" cy="1422401"/>
          </a:xfrm>
        </p:spPr>
        <p:txBody>
          <a:bodyPr anchor="ctr"/>
          <a:lstStyle>
            <a:lvl1pPr algn="ctr">
              <a:defRPr baseline="0"/>
            </a:lvl1pPr>
          </a:lstStyle>
          <a:p>
            <a:r>
              <a:rPr lang="en-GB"/>
              <a:t>Client Logo Here</a:t>
            </a:r>
          </a:p>
        </p:txBody>
      </p:sp>
      <p:grpSp>
        <p:nvGrpSpPr>
          <p:cNvPr id="25" name="Group 24"/>
          <p:cNvGrpSpPr>
            <a:grpSpLocks noChangeAspect="1"/>
          </p:cNvGrpSpPr>
          <p:nvPr userDrawn="1"/>
        </p:nvGrpSpPr>
        <p:grpSpPr>
          <a:xfrm>
            <a:off x="7651248" y="4407954"/>
            <a:ext cx="1097216" cy="338034"/>
            <a:chOff x="5043330" y="2582427"/>
            <a:chExt cx="2714033" cy="836158"/>
          </a:xfrm>
        </p:grpSpPr>
        <p:pic>
          <p:nvPicPr>
            <p:cNvPr id="34" name="logo graphic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21205" y="2582427"/>
              <a:ext cx="836158" cy="836158"/>
            </a:xfrm>
            <a:prstGeom prst="rect">
              <a:avLst/>
            </a:prstGeom>
          </p:spPr>
        </p:pic>
        <p:grpSp>
          <p:nvGrpSpPr>
            <p:cNvPr id="39" name="letters"/>
            <p:cNvGrpSpPr/>
            <p:nvPr/>
          </p:nvGrpSpPr>
          <p:grpSpPr>
            <a:xfrm>
              <a:off x="5043330" y="2901718"/>
              <a:ext cx="1777426" cy="197580"/>
              <a:chOff x="566670" y="435864"/>
              <a:chExt cx="1169700" cy="130025"/>
            </a:xfrm>
            <a:solidFill>
              <a:schemeClr val="tx1"/>
            </a:solidFill>
          </p:grpSpPr>
          <p:sp>
            <p:nvSpPr>
              <p:cNvPr id="40" name="Freeform 6"/>
              <p:cNvSpPr>
                <a:spLocks/>
              </p:cNvSpPr>
              <p:nvPr/>
            </p:nvSpPr>
            <p:spPr bwMode="auto">
              <a:xfrm>
                <a:off x="566670" y="437296"/>
                <a:ext cx="146069" cy="127448"/>
              </a:xfrm>
              <a:custGeom>
                <a:avLst/>
                <a:gdLst>
                  <a:gd name="T0" fmla="*/ 216 w 216"/>
                  <a:gd name="T1" fmla="*/ 188 h 188"/>
                  <a:gd name="T2" fmla="*/ 178 w 216"/>
                  <a:gd name="T3" fmla="*/ 188 h 188"/>
                  <a:gd name="T4" fmla="*/ 178 w 216"/>
                  <a:gd name="T5" fmla="*/ 66 h 188"/>
                  <a:gd name="T6" fmla="*/ 113 w 216"/>
                  <a:gd name="T7" fmla="*/ 145 h 188"/>
                  <a:gd name="T8" fmla="*/ 103 w 216"/>
                  <a:gd name="T9" fmla="*/ 145 h 188"/>
                  <a:gd name="T10" fmla="*/ 38 w 216"/>
                  <a:gd name="T11" fmla="*/ 66 h 188"/>
                  <a:gd name="T12" fmla="*/ 38 w 216"/>
                  <a:gd name="T13" fmla="*/ 188 h 188"/>
                  <a:gd name="T14" fmla="*/ 0 w 216"/>
                  <a:gd name="T15" fmla="*/ 188 h 188"/>
                  <a:gd name="T16" fmla="*/ 0 w 216"/>
                  <a:gd name="T17" fmla="*/ 20 h 188"/>
                  <a:gd name="T18" fmla="*/ 20 w 216"/>
                  <a:gd name="T19" fmla="*/ 0 h 188"/>
                  <a:gd name="T20" fmla="*/ 20 w 216"/>
                  <a:gd name="T21" fmla="*/ 0 h 188"/>
                  <a:gd name="T22" fmla="*/ 38 w 216"/>
                  <a:gd name="T23" fmla="*/ 9 h 188"/>
                  <a:gd name="T24" fmla="*/ 108 w 216"/>
                  <a:gd name="T25" fmla="*/ 94 h 188"/>
                  <a:gd name="T26" fmla="*/ 182 w 216"/>
                  <a:gd name="T27" fmla="*/ 6 h 188"/>
                  <a:gd name="T28" fmla="*/ 196 w 216"/>
                  <a:gd name="T29" fmla="*/ 0 h 188"/>
                  <a:gd name="T30" fmla="*/ 196 w 216"/>
                  <a:gd name="T31" fmla="*/ 0 h 188"/>
                  <a:gd name="T32" fmla="*/ 216 w 216"/>
                  <a:gd name="T33" fmla="*/ 19 h 188"/>
                  <a:gd name="T34" fmla="*/ 216 w 216"/>
                  <a:gd name="T35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16" h="188">
                    <a:moveTo>
                      <a:pt x="216" y="188"/>
                    </a:moveTo>
                    <a:cubicBezTo>
                      <a:pt x="178" y="188"/>
                      <a:pt x="178" y="188"/>
                      <a:pt x="178" y="188"/>
                    </a:cubicBezTo>
                    <a:cubicBezTo>
                      <a:pt x="178" y="66"/>
                      <a:pt x="178" y="66"/>
                      <a:pt x="178" y="66"/>
                    </a:cubicBezTo>
                    <a:cubicBezTo>
                      <a:pt x="113" y="145"/>
                      <a:pt x="113" y="145"/>
                      <a:pt x="113" y="145"/>
                    </a:cubicBezTo>
                    <a:cubicBezTo>
                      <a:pt x="110" y="148"/>
                      <a:pt x="106" y="148"/>
                      <a:pt x="103" y="145"/>
                    </a:cubicBezTo>
                    <a:cubicBezTo>
                      <a:pt x="38" y="66"/>
                      <a:pt x="38" y="66"/>
                      <a:pt x="38" y="66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8" y="0"/>
                      <a:pt x="32" y="3"/>
                      <a:pt x="38" y="9"/>
                    </a:cubicBezTo>
                    <a:cubicBezTo>
                      <a:pt x="108" y="94"/>
                      <a:pt x="108" y="94"/>
                      <a:pt x="108" y="94"/>
                    </a:cubicBezTo>
                    <a:cubicBezTo>
                      <a:pt x="182" y="6"/>
                      <a:pt x="182" y="6"/>
                      <a:pt x="182" y="6"/>
                    </a:cubicBezTo>
                    <a:cubicBezTo>
                      <a:pt x="185" y="2"/>
                      <a:pt x="190" y="0"/>
                      <a:pt x="196" y="0"/>
                    </a:cubicBezTo>
                    <a:cubicBezTo>
                      <a:pt x="196" y="0"/>
                      <a:pt x="196" y="0"/>
                      <a:pt x="196" y="0"/>
                    </a:cubicBezTo>
                    <a:cubicBezTo>
                      <a:pt x="207" y="0"/>
                      <a:pt x="216" y="8"/>
                      <a:pt x="216" y="19"/>
                    </a:cubicBezTo>
                    <a:lnTo>
                      <a:pt x="216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41" name="Freeform 7"/>
              <p:cNvSpPr>
                <a:spLocks noEditPoints="1"/>
              </p:cNvSpPr>
              <p:nvPr/>
            </p:nvSpPr>
            <p:spPr bwMode="auto">
              <a:xfrm>
                <a:off x="1350862" y="436723"/>
                <a:ext cx="146069" cy="128020"/>
              </a:xfrm>
              <a:custGeom>
                <a:avLst/>
                <a:gdLst>
                  <a:gd name="T0" fmla="*/ 0 w 216"/>
                  <a:gd name="T1" fmla="*/ 189 h 189"/>
                  <a:gd name="T2" fmla="*/ 42 w 216"/>
                  <a:gd name="T3" fmla="*/ 189 h 189"/>
                  <a:gd name="T4" fmla="*/ 66 w 216"/>
                  <a:gd name="T5" fmla="*/ 138 h 189"/>
                  <a:gd name="T6" fmla="*/ 148 w 216"/>
                  <a:gd name="T7" fmla="*/ 138 h 189"/>
                  <a:gd name="T8" fmla="*/ 174 w 216"/>
                  <a:gd name="T9" fmla="*/ 189 h 189"/>
                  <a:gd name="T10" fmla="*/ 216 w 216"/>
                  <a:gd name="T11" fmla="*/ 189 h 189"/>
                  <a:gd name="T12" fmla="*/ 124 w 216"/>
                  <a:gd name="T13" fmla="*/ 9 h 189"/>
                  <a:gd name="T14" fmla="*/ 106 w 216"/>
                  <a:gd name="T15" fmla="*/ 0 h 189"/>
                  <a:gd name="T16" fmla="*/ 106 w 216"/>
                  <a:gd name="T17" fmla="*/ 0 h 189"/>
                  <a:gd name="T18" fmla="*/ 89 w 216"/>
                  <a:gd name="T19" fmla="*/ 9 h 189"/>
                  <a:gd name="T20" fmla="*/ 0 w 216"/>
                  <a:gd name="T21" fmla="*/ 189 h 189"/>
                  <a:gd name="T22" fmla="*/ 106 w 216"/>
                  <a:gd name="T23" fmla="*/ 55 h 189"/>
                  <a:gd name="T24" fmla="*/ 133 w 216"/>
                  <a:gd name="T25" fmla="*/ 108 h 189"/>
                  <a:gd name="T26" fmla="*/ 81 w 216"/>
                  <a:gd name="T27" fmla="*/ 108 h 189"/>
                  <a:gd name="T28" fmla="*/ 106 w 216"/>
                  <a:gd name="T29" fmla="*/ 55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16" h="189">
                    <a:moveTo>
                      <a:pt x="0" y="189"/>
                    </a:moveTo>
                    <a:cubicBezTo>
                      <a:pt x="42" y="189"/>
                      <a:pt x="42" y="189"/>
                      <a:pt x="42" y="189"/>
                    </a:cubicBezTo>
                    <a:cubicBezTo>
                      <a:pt x="66" y="138"/>
                      <a:pt x="66" y="138"/>
                      <a:pt x="66" y="138"/>
                    </a:cubicBezTo>
                    <a:cubicBezTo>
                      <a:pt x="148" y="138"/>
                      <a:pt x="148" y="138"/>
                      <a:pt x="148" y="138"/>
                    </a:cubicBezTo>
                    <a:cubicBezTo>
                      <a:pt x="174" y="189"/>
                      <a:pt x="174" y="189"/>
                      <a:pt x="174" y="189"/>
                    </a:cubicBezTo>
                    <a:cubicBezTo>
                      <a:pt x="216" y="189"/>
                      <a:pt x="216" y="189"/>
                      <a:pt x="216" y="189"/>
                    </a:cubicBezTo>
                    <a:cubicBezTo>
                      <a:pt x="124" y="9"/>
                      <a:pt x="124" y="9"/>
                      <a:pt x="124" y="9"/>
                    </a:cubicBezTo>
                    <a:cubicBezTo>
                      <a:pt x="120" y="3"/>
                      <a:pt x="114" y="0"/>
                      <a:pt x="106" y="0"/>
                    </a:cubicBezTo>
                    <a:cubicBezTo>
                      <a:pt x="106" y="0"/>
                      <a:pt x="106" y="0"/>
                      <a:pt x="106" y="0"/>
                    </a:cubicBezTo>
                    <a:cubicBezTo>
                      <a:pt x="99" y="0"/>
                      <a:pt x="93" y="3"/>
                      <a:pt x="89" y="9"/>
                    </a:cubicBezTo>
                    <a:lnTo>
                      <a:pt x="0" y="189"/>
                    </a:lnTo>
                    <a:close/>
                    <a:moveTo>
                      <a:pt x="106" y="55"/>
                    </a:moveTo>
                    <a:cubicBezTo>
                      <a:pt x="133" y="108"/>
                      <a:pt x="133" y="108"/>
                      <a:pt x="133" y="108"/>
                    </a:cubicBezTo>
                    <a:cubicBezTo>
                      <a:pt x="81" y="108"/>
                      <a:pt x="81" y="108"/>
                      <a:pt x="81" y="108"/>
                    </a:cubicBezTo>
                    <a:lnTo>
                      <a:pt x="106" y="5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42" name="Freeform 8"/>
              <p:cNvSpPr>
                <a:spLocks/>
              </p:cNvSpPr>
              <p:nvPr/>
            </p:nvSpPr>
            <p:spPr bwMode="auto">
              <a:xfrm>
                <a:off x="789211" y="437296"/>
                <a:ext cx="128598" cy="127448"/>
              </a:xfrm>
              <a:custGeom>
                <a:avLst/>
                <a:gdLst>
                  <a:gd name="T0" fmla="*/ 190 w 190"/>
                  <a:gd name="T1" fmla="*/ 188 h 188"/>
                  <a:gd name="T2" fmla="*/ 163 w 190"/>
                  <a:gd name="T3" fmla="*/ 188 h 188"/>
                  <a:gd name="T4" fmla="*/ 38 w 190"/>
                  <a:gd name="T5" fmla="*/ 62 h 188"/>
                  <a:gd name="T6" fmla="*/ 38 w 190"/>
                  <a:gd name="T7" fmla="*/ 188 h 188"/>
                  <a:gd name="T8" fmla="*/ 0 w 190"/>
                  <a:gd name="T9" fmla="*/ 188 h 188"/>
                  <a:gd name="T10" fmla="*/ 0 w 190"/>
                  <a:gd name="T11" fmla="*/ 20 h 188"/>
                  <a:gd name="T12" fmla="*/ 21 w 190"/>
                  <a:gd name="T13" fmla="*/ 0 h 188"/>
                  <a:gd name="T14" fmla="*/ 21 w 190"/>
                  <a:gd name="T15" fmla="*/ 0 h 188"/>
                  <a:gd name="T16" fmla="*/ 36 w 190"/>
                  <a:gd name="T17" fmla="*/ 6 h 188"/>
                  <a:gd name="T18" fmla="*/ 152 w 190"/>
                  <a:gd name="T19" fmla="*/ 123 h 188"/>
                  <a:gd name="T20" fmla="*/ 152 w 190"/>
                  <a:gd name="T21" fmla="*/ 12 h 188"/>
                  <a:gd name="T22" fmla="*/ 165 w 190"/>
                  <a:gd name="T23" fmla="*/ 0 h 188"/>
                  <a:gd name="T24" fmla="*/ 178 w 190"/>
                  <a:gd name="T25" fmla="*/ 0 h 188"/>
                  <a:gd name="T26" fmla="*/ 190 w 190"/>
                  <a:gd name="T27" fmla="*/ 12 h 188"/>
                  <a:gd name="T28" fmla="*/ 190 w 190"/>
                  <a:gd name="T29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0" h="188">
                    <a:moveTo>
                      <a:pt x="190" y="188"/>
                    </a:moveTo>
                    <a:cubicBezTo>
                      <a:pt x="163" y="188"/>
                      <a:pt x="163" y="188"/>
                      <a:pt x="163" y="188"/>
                    </a:cubicBezTo>
                    <a:cubicBezTo>
                      <a:pt x="38" y="62"/>
                      <a:pt x="38" y="62"/>
                      <a:pt x="38" y="62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1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7" y="0"/>
                      <a:pt x="32" y="2"/>
                      <a:pt x="36" y="6"/>
                    </a:cubicBezTo>
                    <a:cubicBezTo>
                      <a:pt x="152" y="123"/>
                      <a:pt x="152" y="123"/>
                      <a:pt x="152" y="123"/>
                    </a:cubicBezTo>
                    <a:cubicBezTo>
                      <a:pt x="152" y="12"/>
                      <a:pt x="152" y="12"/>
                      <a:pt x="152" y="12"/>
                    </a:cubicBezTo>
                    <a:cubicBezTo>
                      <a:pt x="152" y="5"/>
                      <a:pt x="158" y="0"/>
                      <a:pt x="165" y="0"/>
                    </a:cubicBezTo>
                    <a:cubicBezTo>
                      <a:pt x="178" y="0"/>
                      <a:pt x="178" y="0"/>
                      <a:pt x="178" y="0"/>
                    </a:cubicBezTo>
                    <a:cubicBezTo>
                      <a:pt x="185" y="0"/>
                      <a:pt x="190" y="5"/>
                      <a:pt x="190" y="12"/>
                    </a:cubicBezTo>
                    <a:lnTo>
                      <a:pt x="190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43" name="Freeform 9"/>
              <p:cNvSpPr>
                <a:spLocks noEditPoints="1"/>
              </p:cNvSpPr>
              <p:nvPr/>
            </p:nvSpPr>
            <p:spPr bwMode="auto">
              <a:xfrm>
                <a:off x="943586" y="437296"/>
                <a:ext cx="127739" cy="127448"/>
              </a:xfrm>
              <a:custGeom>
                <a:avLst/>
                <a:gdLst>
                  <a:gd name="T0" fmla="*/ 117 w 189"/>
                  <a:gd name="T1" fmla="*/ 4 h 188"/>
                  <a:gd name="T2" fmla="*/ 72 w 189"/>
                  <a:gd name="T3" fmla="*/ 0 h 188"/>
                  <a:gd name="T4" fmla="*/ 19 w 189"/>
                  <a:gd name="T5" fmla="*/ 0 h 188"/>
                  <a:gd name="T6" fmla="*/ 0 w 189"/>
                  <a:gd name="T7" fmla="*/ 18 h 188"/>
                  <a:gd name="T8" fmla="*/ 0 w 189"/>
                  <a:gd name="T9" fmla="*/ 188 h 188"/>
                  <a:gd name="T10" fmla="*/ 62 w 189"/>
                  <a:gd name="T11" fmla="*/ 188 h 188"/>
                  <a:gd name="T12" fmla="*/ 115 w 189"/>
                  <a:gd name="T13" fmla="*/ 182 h 188"/>
                  <a:gd name="T14" fmla="*/ 189 w 189"/>
                  <a:gd name="T15" fmla="*/ 91 h 188"/>
                  <a:gd name="T16" fmla="*/ 117 w 189"/>
                  <a:gd name="T17" fmla="*/ 4 h 188"/>
                  <a:gd name="T18" fmla="*/ 105 w 189"/>
                  <a:gd name="T19" fmla="*/ 148 h 188"/>
                  <a:gd name="T20" fmla="*/ 62 w 189"/>
                  <a:gd name="T21" fmla="*/ 153 h 188"/>
                  <a:gd name="T22" fmla="*/ 62 w 189"/>
                  <a:gd name="T23" fmla="*/ 153 h 188"/>
                  <a:gd name="T24" fmla="*/ 38 w 189"/>
                  <a:gd name="T25" fmla="*/ 153 h 188"/>
                  <a:gd name="T26" fmla="*/ 38 w 189"/>
                  <a:gd name="T27" fmla="*/ 153 h 188"/>
                  <a:gd name="T28" fmla="*/ 38 w 189"/>
                  <a:gd name="T29" fmla="*/ 34 h 188"/>
                  <a:gd name="T30" fmla="*/ 38 w 189"/>
                  <a:gd name="T31" fmla="*/ 34 h 188"/>
                  <a:gd name="T32" fmla="*/ 68 w 189"/>
                  <a:gd name="T33" fmla="*/ 34 h 188"/>
                  <a:gd name="T34" fmla="*/ 68 w 189"/>
                  <a:gd name="T35" fmla="*/ 34 h 188"/>
                  <a:gd name="T36" fmla="*/ 107 w 189"/>
                  <a:gd name="T37" fmla="*/ 38 h 188"/>
                  <a:gd name="T38" fmla="*/ 150 w 189"/>
                  <a:gd name="T39" fmla="*/ 91 h 188"/>
                  <a:gd name="T40" fmla="*/ 105 w 189"/>
                  <a:gd name="T41" fmla="*/ 14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89" h="188">
                    <a:moveTo>
                      <a:pt x="117" y="4"/>
                    </a:moveTo>
                    <a:cubicBezTo>
                      <a:pt x="104" y="1"/>
                      <a:pt x="89" y="0"/>
                      <a:pt x="72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9" y="0"/>
                      <a:pt x="0" y="8"/>
                      <a:pt x="0" y="1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62" y="188"/>
                      <a:pt x="62" y="188"/>
                      <a:pt x="62" y="188"/>
                    </a:cubicBezTo>
                    <a:cubicBezTo>
                      <a:pt x="84" y="188"/>
                      <a:pt x="100" y="186"/>
                      <a:pt x="115" y="182"/>
                    </a:cubicBezTo>
                    <a:cubicBezTo>
                      <a:pt x="163" y="168"/>
                      <a:pt x="189" y="136"/>
                      <a:pt x="189" y="91"/>
                    </a:cubicBezTo>
                    <a:cubicBezTo>
                      <a:pt x="189" y="46"/>
                      <a:pt x="164" y="15"/>
                      <a:pt x="117" y="4"/>
                    </a:cubicBezTo>
                    <a:close/>
                    <a:moveTo>
                      <a:pt x="105" y="148"/>
                    </a:moveTo>
                    <a:cubicBezTo>
                      <a:pt x="94" y="151"/>
                      <a:pt x="79" y="153"/>
                      <a:pt x="62" y="153"/>
                    </a:cubicBezTo>
                    <a:cubicBezTo>
                      <a:pt x="62" y="153"/>
                      <a:pt x="62" y="153"/>
                      <a:pt x="62" y="153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68" y="34"/>
                      <a:pt x="68" y="34"/>
                      <a:pt x="68" y="34"/>
                    </a:cubicBezTo>
                    <a:cubicBezTo>
                      <a:pt x="68" y="34"/>
                      <a:pt x="68" y="34"/>
                      <a:pt x="68" y="34"/>
                    </a:cubicBezTo>
                    <a:cubicBezTo>
                      <a:pt x="86" y="34"/>
                      <a:pt x="97" y="35"/>
                      <a:pt x="107" y="38"/>
                    </a:cubicBezTo>
                    <a:cubicBezTo>
                      <a:pt x="136" y="46"/>
                      <a:pt x="150" y="63"/>
                      <a:pt x="150" y="91"/>
                    </a:cubicBezTo>
                    <a:cubicBezTo>
                      <a:pt x="150" y="120"/>
                      <a:pt x="135" y="139"/>
                      <a:pt x="105" y="14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44" name="Freeform 10"/>
              <p:cNvSpPr>
                <a:spLocks noEditPoints="1"/>
              </p:cNvSpPr>
              <p:nvPr/>
            </p:nvSpPr>
            <p:spPr bwMode="auto">
              <a:xfrm>
                <a:off x="1513256" y="437296"/>
                <a:ext cx="110841" cy="127448"/>
              </a:xfrm>
              <a:custGeom>
                <a:avLst/>
                <a:gdLst>
                  <a:gd name="T0" fmla="*/ 113 w 164"/>
                  <a:gd name="T1" fmla="*/ 113 h 188"/>
                  <a:gd name="T2" fmla="*/ 158 w 164"/>
                  <a:gd name="T3" fmla="*/ 58 h 188"/>
                  <a:gd name="T4" fmla="*/ 82 w 164"/>
                  <a:gd name="T5" fmla="*/ 0 h 188"/>
                  <a:gd name="T6" fmla="*/ 19 w 164"/>
                  <a:gd name="T7" fmla="*/ 0 h 188"/>
                  <a:gd name="T8" fmla="*/ 0 w 164"/>
                  <a:gd name="T9" fmla="*/ 18 h 188"/>
                  <a:gd name="T10" fmla="*/ 0 w 164"/>
                  <a:gd name="T11" fmla="*/ 188 h 188"/>
                  <a:gd name="T12" fmla="*/ 38 w 164"/>
                  <a:gd name="T13" fmla="*/ 188 h 188"/>
                  <a:gd name="T14" fmla="*/ 38 w 164"/>
                  <a:gd name="T15" fmla="*/ 118 h 188"/>
                  <a:gd name="T16" fmla="*/ 72 w 164"/>
                  <a:gd name="T17" fmla="*/ 118 h 188"/>
                  <a:gd name="T18" fmla="*/ 119 w 164"/>
                  <a:gd name="T19" fmla="*/ 188 h 188"/>
                  <a:gd name="T20" fmla="*/ 164 w 164"/>
                  <a:gd name="T21" fmla="*/ 188 h 188"/>
                  <a:gd name="T22" fmla="*/ 113 w 164"/>
                  <a:gd name="T23" fmla="*/ 113 h 188"/>
                  <a:gd name="T24" fmla="*/ 38 w 164"/>
                  <a:gd name="T25" fmla="*/ 83 h 188"/>
                  <a:gd name="T26" fmla="*/ 38 w 164"/>
                  <a:gd name="T27" fmla="*/ 34 h 188"/>
                  <a:gd name="T28" fmla="*/ 85 w 164"/>
                  <a:gd name="T29" fmla="*/ 34 h 188"/>
                  <a:gd name="T30" fmla="*/ 118 w 164"/>
                  <a:gd name="T31" fmla="*/ 59 h 188"/>
                  <a:gd name="T32" fmla="*/ 77 w 164"/>
                  <a:gd name="T33" fmla="*/ 83 h 188"/>
                  <a:gd name="T34" fmla="*/ 38 w 164"/>
                  <a:gd name="T35" fmla="*/ 83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4" h="188">
                    <a:moveTo>
                      <a:pt x="113" y="113"/>
                    </a:moveTo>
                    <a:cubicBezTo>
                      <a:pt x="142" y="105"/>
                      <a:pt x="158" y="86"/>
                      <a:pt x="158" y="58"/>
                    </a:cubicBezTo>
                    <a:cubicBezTo>
                      <a:pt x="158" y="22"/>
                      <a:pt x="129" y="0"/>
                      <a:pt x="82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8" y="0"/>
                      <a:pt x="0" y="8"/>
                      <a:pt x="0" y="1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38" y="118"/>
                      <a:pt x="38" y="118"/>
                      <a:pt x="38" y="118"/>
                    </a:cubicBezTo>
                    <a:cubicBezTo>
                      <a:pt x="72" y="118"/>
                      <a:pt x="72" y="118"/>
                      <a:pt x="72" y="118"/>
                    </a:cubicBezTo>
                    <a:cubicBezTo>
                      <a:pt x="119" y="188"/>
                      <a:pt x="119" y="188"/>
                      <a:pt x="119" y="188"/>
                    </a:cubicBezTo>
                    <a:cubicBezTo>
                      <a:pt x="164" y="188"/>
                      <a:pt x="164" y="188"/>
                      <a:pt x="164" y="188"/>
                    </a:cubicBezTo>
                    <a:lnTo>
                      <a:pt x="113" y="113"/>
                    </a:lnTo>
                    <a:close/>
                    <a:moveTo>
                      <a:pt x="38" y="83"/>
                    </a:moveTo>
                    <a:cubicBezTo>
                      <a:pt x="38" y="34"/>
                      <a:pt x="38" y="34"/>
                      <a:pt x="38" y="34"/>
                    </a:cubicBezTo>
                    <a:cubicBezTo>
                      <a:pt x="85" y="34"/>
                      <a:pt x="85" y="34"/>
                      <a:pt x="85" y="34"/>
                    </a:cubicBezTo>
                    <a:cubicBezTo>
                      <a:pt x="98" y="34"/>
                      <a:pt x="118" y="38"/>
                      <a:pt x="118" y="59"/>
                    </a:cubicBezTo>
                    <a:cubicBezTo>
                      <a:pt x="118" y="69"/>
                      <a:pt x="114" y="83"/>
                      <a:pt x="77" y="83"/>
                    </a:cubicBezTo>
                    <a:lnTo>
                      <a:pt x="38" y="8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45" name="Freeform 11"/>
              <p:cNvSpPr>
                <a:spLocks/>
              </p:cNvSpPr>
              <p:nvPr/>
            </p:nvSpPr>
            <p:spPr bwMode="auto">
              <a:xfrm>
                <a:off x="738516" y="437296"/>
                <a:ext cx="25777" cy="127448"/>
              </a:xfrm>
              <a:custGeom>
                <a:avLst/>
                <a:gdLst>
                  <a:gd name="T0" fmla="*/ 0 w 38"/>
                  <a:gd name="T1" fmla="*/ 188 h 188"/>
                  <a:gd name="T2" fmla="*/ 38 w 38"/>
                  <a:gd name="T3" fmla="*/ 188 h 188"/>
                  <a:gd name="T4" fmla="*/ 38 w 38"/>
                  <a:gd name="T5" fmla="*/ 12 h 188"/>
                  <a:gd name="T6" fmla="*/ 25 w 38"/>
                  <a:gd name="T7" fmla="*/ 0 h 188"/>
                  <a:gd name="T8" fmla="*/ 13 w 38"/>
                  <a:gd name="T9" fmla="*/ 0 h 188"/>
                  <a:gd name="T10" fmla="*/ 0 w 38"/>
                  <a:gd name="T11" fmla="*/ 12 h 188"/>
                  <a:gd name="T12" fmla="*/ 0 w 38"/>
                  <a:gd name="T13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" h="188">
                    <a:moveTo>
                      <a:pt x="0" y="188"/>
                    </a:moveTo>
                    <a:cubicBezTo>
                      <a:pt x="38" y="188"/>
                      <a:pt x="38" y="188"/>
                      <a:pt x="38" y="188"/>
                    </a:cubicBezTo>
                    <a:cubicBezTo>
                      <a:pt x="38" y="12"/>
                      <a:pt x="38" y="12"/>
                      <a:pt x="38" y="12"/>
                    </a:cubicBezTo>
                    <a:cubicBezTo>
                      <a:pt x="38" y="5"/>
                      <a:pt x="32" y="0"/>
                      <a:pt x="25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0" y="5"/>
                      <a:pt x="0" y="12"/>
                    </a:cubicBezTo>
                    <a:lnTo>
                      <a:pt x="0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46" name="Freeform 12"/>
              <p:cNvSpPr>
                <a:spLocks/>
              </p:cNvSpPr>
              <p:nvPr/>
            </p:nvSpPr>
            <p:spPr bwMode="auto">
              <a:xfrm>
                <a:off x="1217394" y="437296"/>
                <a:ext cx="118001" cy="127448"/>
              </a:xfrm>
              <a:custGeom>
                <a:avLst/>
                <a:gdLst>
                  <a:gd name="T0" fmla="*/ 174 w 174"/>
                  <a:gd name="T1" fmla="*/ 188 h 188"/>
                  <a:gd name="T2" fmla="*/ 137 w 174"/>
                  <a:gd name="T3" fmla="*/ 188 h 188"/>
                  <a:gd name="T4" fmla="*/ 137 w 174"/>
                  <a:gd name="T5" fmla="*/ 110 h 188"/>
                  <a:gd name="T6" fmla="*/ 38 w 174"/>
                  <a:gd name="T7" fmla="*/ 110 h 188"/>
                  <a:gd name="T8" fmla="*/ 38 w 174"/>
                  <a:gd name="T9" fmla="*/ 188 h 188"/>
                  <a:gd name="T10" fmla="*/ 0 w 174"/>
                  <a:gd name="T11" fmla="*/ 188 h 188"/>
                  <a:gd name="T12" fmla="*/ 0 w 174"/>
                  <a:gd name="T13" fmla="*/ 12 h 188"/>
                  <a:gd name="T14" fmla="*/ 13 w 174"/>
                  <a:gd name="T15" fmla="*/ 0 h 188"/>
                  <a:gd name="T16" fmla="*/ 25 w 174"/>
                  <a:gd name="T17" fmla="*/ 0 h 188"/>
                  <a:gd name="T18" fmla="*/ 38 w 174"/>
                  <a:gd name="T19" fmla="*/ 12 h 188"/>
                  <a:gd name="T20" fmla="*/ 38 w 174"/>
                  <a:gd name="T21" fmla="*/ 75 h 188"/>
                  <a:gd name="T22" fmla="*/ 137 w 174"/>
                  <a:gd name="T23" fmla="*/ 75 h 188"/>
                  <a:gd name="T24" fmla="*/ 137 w 174"/>
                  <a:gd name="T25" fmla="*/ 12 h 188"/>
                  <a:gd name="T26" fmla="*/ 149 w 174"/>
                  <a:gd name="T27" fmla="*/ 0 h 188"/>
                  <a:gd name="T28" fmla="*/ 162 w 174"/>
                  <a:gd name="T29" fmla="*/ 0 h 188"/>
                  <a:gd name="T30" fmla="*/ 174 w 174"/>
                  <a:gd name="T31" fmla="*/ 12 h 188"/>
                  <a:gd name="T32" fmla="*/ 174 w 174"/>
                  <a:gd name="T33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4" h="188">
                    <a:moveTo>
                      <a:pt x="174" y="188"/>
                    </a:moveTo>
                    <a:cubicBezTo>
                      <a:pt x="137" y="188"/>
                      <a:pt x="137" y="188"/>
                      <a:pt x="137" y="188"/>
                    </a:cubicBezTo>
                    <a:cubicBezTo>
                      <a:pt x="137" y="110"/>
                      <a:pt x="137" y="110"/>
                      <a:pt x="137" y="110"/>
                    </a:cubicBezTo>
                    <a:cubicBezTo>
                      <a:pt x="38" y="110"/>
                      <a:pt x="38" y="110"/>
                      <a:pt x="38" y="110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6" y="0"/>
                      <a:pt x="13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32" y="0"/>
                      <a:pt x="38" y="5"/>
                      <a:pt x="38" y="12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137" y="75"/>
                      <a:pt x="137" y="75"/>
                      <a:pt x="137" y="75"/>
                    </a:cubicBezTo>
                    <a:cubicBezTo>
                      <a:pt x="137" y="12"/>
                      <a:pt x="137" y="12"/>
                      <a:pt x="137" y="12"/>
                    </a:cubicBezTo>
                    <a:cubicBezTo>
                      <a:pt x="137" y="5"/>
                      <a:pt x="142" y="0"/>
                      <a:pt x="149" y="0"/>
                    </a:cubicBezTo>
                    <a:cubicBezTo>
                      <a:pt x="162" y="0"/>
                      <a:pt x="162" y="0"/>
                      <a:pt x="162" y="0"/>
                    </a:cubicBezTo>
                    <a:cubicBezTo>
                      <a:pt x="169" y="0"/>
                      <a:pt x="174" y="5"/>
                      <a:pt x="174" y="12"/>
                    </a:cubicBezTo>
                    <a:lnTo>
                      <a:pt x="174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47" name="Freeform 13"/>
              <p:cNvSpPr>
                <a:spLocks/>
              </p:cNvSpPr>
              <p:nvPr/>
            </p:nvSpPr>
            <p:spPr bwMode="auto">
              <a:xfrm>
                <a:off x="1085646" y="435864"/>
                <a:ext cx="108836" cy="130025"/>
              </a:xfrm>
              <a:custGeom>
                <a:avLst/>
                <a:gdLst>
                  <a:gd name="T0" fmla="*/ 90 w 161"/>
                  <a:gd name="T1" fmla="*/ 78 h 192"/>
                  <a:gd name="T2" fmla="*/ 46 w 161"/>
                  <a:gd name="T3" fmla="*/ 56 h 192"/>
                  <a:gd name="T4" fmla="*/ 83 w 161"/>
                  <a:gd name="T5" fmla="*/ 36 h 192"/>
                  <a:gd name="T6" fmla="*/ 139 w 161"/>
                  <a:gd name="T7" fmla="*/ 49 h 192"/>
                  <a:gd name="T8" fmla="*/ 140 w 161"/>
                  <a:gd name="T9" fmla="*/ 49 h 192"/>
                  <a:gd name="T10" fmla="*/ 145 w 161"/>
                  <a:gd name="T11" fmla="*/ 47 h 192"/>
                  <a:gd name="T12" fmla="*/ 156 w 161"/>
                  <a:gd name="T13" fmla="*/ 25 h 192"/>
                  <a:gd name="T14" fmla="*/ 156 w 161"/>
                  <a:gd name="T15" fmla="*/ 23 h 192"/>
                  <a:gd name="T16" fmla="*/ 153 w 161"/>
                  <a:gd name="T17" fmla="*/ 18 h 192"/>
                  <a:gd name="T18" fmla="*/ 152 w 161"/>
                  <a:gd name="T19" fmla="*/ 17 h 192"/>
                  <a:gd name="T20" fmla="*/ 81 w 161"/>
                  <a:gd name="T21" fmla="*/ 0 h 192"/>
                  <a:gd name="T22" fmla="*/ 7 w 161"/>
                  <a:gd name="T23" fmla="*/ 57 h 192"/>
                  <a:gd name="T24" fmla="*/ 25 w 161"/>
                  <a:gd name="T25" fmla="*/ 96 h 192"/>
                  <a:gd name="T26" fmla="*/ 80 w 161"/>
                  <a:gd name="T27" fmla="*/ 113 h 192"/>
                  <a:gd name="T28" fmla="*/ 122 w 161"/>
                  <a:gd name="T29" fmla="*/ 133 h 192"/>
                  <a:gd name="T30" fmla="*/ 78 w 161"/>
                  <a:gd name="T31" fmla="*/ 157 h 192"/>
                  <a:gd name="T32" fmla="*/ 22 w 161"/>
                  <a:gd name="T33" fmla="*/ 142 h 192"/>
                  <a:gd name="T34" fmla="*/ 18 w 161"/>
                  <a:gd name="T35" fmla="*/ 139 h 192"/>
                  <a:gd name="T36" fmla="*/ 15 w 161"/>
                  <a:gd name="T37" fmla="*/ 143 h 192"/>
                  <a:gd name="T38" fmla="*/ 2 w 161"/>
                  <a:gd name="T39" fmla="*/ 166 h 192"/>
                  <a:gd name="T40" fmla="*/ 0 w 161"/>
                  <a:gd name="T41" fmla="*/ 170 h 192"/>
                  <a:gd name="T42" fmla="*/ 4 w 161"/>
                  <a:gd name="T43" fmla="*/ 172 h 192"/>
                  <a:gd name="T44" fmla="*/ 77 w 161"/>
                  <a:gd name="T45" fmla="*/ 192 h 192"/>
                  <a:gd name="T46" fmla="*/ 161 w 161"/>
                  <a:gd name="T47" fmla="*/ 132 h 192"/>
                  <a:gd name="T48" fmla="*/ 90 w 161"/>
                  <a:gd name="T49" fmla="*/ 78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61" h="192">
                    <a:moveTo>
                      <a:pt x="90" y="78"/>
                    </a:moveTo>
                    <a:cubicBezTo>
                      <a:pt x="63" y="74"/>
                      <a:pt x="46" y="71"/>
                      <a:pt x="46" y="56"/>
                    </a:cubicBezTo>
                    <a:cubicBezTo>
                      <a:pt x="46" y="43"/>
                      <a:pt x="60" y="36"/>
                      <a:pt x="83" y="36"/>
                    </a:cubicBezTo>
                    <a:cubicBezTo>
                      <a:pt x="109" y="36"/>
                      <a:pt x="130" y="45"/>
                      <a:pt x="139" y="49"/>
                    </a:cubicBezTo>
                    <a:cubicBezTo>
                      <a:pt x="139" y="49"/>
                      <a:pt x="139" y="49"/>
                      <a:pt x="140" y="49"/>
                    </a:cubicBezTo>
                    <a:cubicBezTo>
                      <a:pt x="142" y="49"/>
                      <a:pt x="144" y="49"/>
                      <a:pt x="145" y="47"/>
                    </a:cubicBezTo>
                    <a:cubicBezTo>
                      <a:pt x="156" y="25"/>
                      <a:pt x="156" y="25"/>
                      <a:pt x="156" y="25"/>
                    </a:cubicBezTo>
                    <a:cubicBezTo>
                      <a:pt x="156" y="24"/>
                      <a:pt x="156" y="23"/>
                      <a:pt x="156" y="23"/>
                    </a:cubicBezTo>
                    <a:cubicBezTo>
                      <a:pt x="156" y="21"/>
                      <a:pt x="155" y="19"/>
                      <a:pt x="153" y="18"/>
                    </a:cubicBezTo>
                    <a:cubicBezTo>
                      <a:pt x="152" y="17"/>
                      <a:pt x="152" y="17"/>
                      <a:pt x="152" y="17"/>
                    </a:cubicBezTo>
                    <a:cubicBezTo>
                      <a:pt x="133" y="7"/>
                      <a:pt x="106" y="0"/>
                      <a:pt x="81" y="0"/>
                    </a:cubicBezTo>
                    <a:cubicBezTo>
                      <a:pt x="35" y="0"/>
                      <a:pt x="7" y="22"/>
                      <a:pt x="7" y="57"/>
                    </a:cubicBezTo>
                    <a:cubicBezTo>
                      <a:pt x="7" y="75"/>
                      <a:pt x="13" y="87"/>
                      <a:pt x="25" y="96"/>
                    </a:cubicBezTo>
                    <a:cubicBezTo>
                      <a:pt x="40" y="107"/>
                      <a:pt x="61" y="110"/>
                      <a:pt x="80" y="113"/>
                    </a:cubicBezTo>
                    <a:cubicBezTo>
                      <a:pt x="106" y="117"/>
                      <a:pt x="122" y="119"/>
                      <a:pt x="122" y="133"/>
                    </a:cubicBezTo>
                    <a:cubicBezTo>
                      <a:pt x="122" y="155"/>
                      <a:pt x="91" y="157"/>
                      <a:pt x="78" y="157"/>
                    </a:cubicBezTo>
                    <a:cubicBezTo>
                      <a:pt x="57" y="157"/>
                      <a:pt x="38" y="152"/>
                      <a:pt x="22" y="142"/>
                    </a:cubicBezTo>
                    <a:cubicBezTo>
                      <a:pt x="18" y="139"/>
                      <a:pt x="18" y="139"/>
                      <a:pt x="18" y="139"/>
                    </a:cubicBezTo>
                    <a:cubicBezTo>
                      <a:pt x="15" y="143"/>
                      <a:pt x="15" y="143"/>
                      <a:pt x="15" y="143"/>
                    </a:cubicBezTo>
                    <a:cubicBezTo>
                      <a:pt x="2" y="166"/>
                      <a:pt x="2" y="166"/>
                      <a:pt x="2" y="166"/>
                    </a:cubicBezTo>
                    <a:cubicBezTo>
                      <a:pt x="0" y="170"/>
                      <a:pt x="0" y="170"/>
                      <a:pt x="0" y="170"/>
                    </a:cubicBezTo>
                    <a:cubicBezTo>
                      <a:pt x="4" y="172"/>
                      <a:pt x="4" y="172"/>
                      <a:pt x="4" y="172"/>
                    </a:cubicBezTo>
                    <a:cubicBezTo>
                      <a:pt x="18" y="181"/>
                      <a:pt x="42" y="192"/>
                      <a:pt x="77" y="192"/>
                    </a:cubicBezTo>
                    <a:cubicBezTo>
                      <a:pt x="128" y="192"/>
                      <a:pt x="161" y="169"/>
                      <a:pt x="161" y="132"/>
                    </a:cubicBezTo>
                    <a:cubicBezTo>
                      <a:pt x="161" y="88"/>
                      <a:pt x="122" y="82"/>
                      <a:pt x="90" y="7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48" name="Freeform 14"/>
              <p:cNvSpPr>
                <a:spLocks/>
              </p:cNvSpPr>
              <p:nvPr/>
            </p:nvSpPr>
            <p:spPr bwMode="auto">
              <a:xfrm>
                <a:off x="1642427" y="437296"/>
                <a:ext cx="93943" cy="127448"/>
              </a:xfrm>
              <a:custGeom>
                <a:avLst/>
                <a:gdLst>
                  <a:gd name="T0" fmla="*/ 128 w 139"/>
                  <a:gd name="T1" fmla="*/ 103 h 188"/>
                  <a:gd name="T2" fmla="*/ 121 w 139"/>
                  <a:gd name="T3" fmla="*/ 110 h 188"/>
                  <a:gd name="T4" fmla="*/ 38 w 139"/>
                  <a:gd name="T5" fmla="*/ 110 h 188"/>
                  <a:gd name="T6" fmla="*/ 38 w 139"/>
                  <a:gd name="T7" fmla="*/ 153 h 188"/>
                  <a:gd name="T8" fmla="*/ 139 w 139"/>
                  <a:gd name="T9" fmla="*/ 153 h 188"/>
                  <a:gd name="T10" fmla="*/ 139 w 139"/>
                  <a:gd name="T11" fmla="*/ 188 h 188"/>
                  <a:gd name="T12" fmla="*/ 0 w 139"/>
                  <a:gd name="T13" fmla="*/ 188 h 188"/>
                  <a:gd name="T14" fmla="*/ 0 w 139"/>
                  <a:gd name="T15" fmla="*/ 18 h 188"/>
                  <a:gd name="T16" fmla="*/ 19 w 139"/>
                  <a:gd name="T17" fmla="*/ 0 h 188"/>
                  <a:gd name="T18" fmla="*/ 130 w 139"/>
                  <a:gd name="T19" fmla="*/ 0 h 188"/>
                  <a:gd name="T20" fmla="*/ 137 w 139"/>
                  <a:gd name="T21" fmla="*/ 6 h 188"/>
                  <a:gd name="T22" fmla="*/ 137 w 139"/>
                  <a:gd name="T23" fmla="*/ 27 h 188"/>
                  <a:gd name="T24" fmla="*/ 130 w 139"/>
                  <a:gd name="T25" fmla="*/ 34 h 188"/>
                  <a:gd name="T26" fmla="*/ 38 w 139"/>
                  <a:gd name="T27" fmla="*/ 34 h 188"/>
                  <a:gd name="T28" fmla="*/ 38 w 139"/>
                  <a:gd name="T29" fmla="*/ 75 h 188"/>
                  <a:gd name="T30" fmla="*/ 121 w 139"/>
                  <a:gd name="T31" fmla="*/ 75 h 188"/>
                  <a:gd name="T32" fmla="*/ 128 w 139"/>
                  <a:gd name="T33" fmla="*/ 82 h 188"/>
                  <a:gd name="T34" fmla="*/ 128 w 139"/>
                  <a:gd name="T35" fmla="*/ 103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9" h="188">
                    <a:moveTo>
                      <a:pt x="128" y="103"/>
                    </a:moveTo>
                    <a:cubicBezTo>
                      <a:pt x="128" y="107"/>
                      <a:pt x="124" y="110"/>
                      <a:pt x="121" y="110"/>
                    </a:cubicBezTo>
                    <a:cubicBezTo>
                      <a:pt x="38" y="110"/>
                      <a:pt x="38" y="110"/>
                      <a:pt x="38" y="110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139" y="153"/>
                      <a:pt x="139" y="153"/>
                      <a:pt x="139" y="153"/>
                    </a:cubicBezTo>
                    <a:cubicBezTo>
                      <a:pt x="139" y="188"/>
                      <a:pt x="139" y="188"/>
                      <a:pt x="139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9" y="0"/>
                      <a:pt x="19" y="0"/>
                    </a:cubicBezTo>
                    <a:cubicBezTo>
                      <a:pt x="130" y="0"/>
                      <a:pt x="130" y="0"/>
                      <a:pt x="130" y="0"/>
                    </a:cubicBezTo>
                    <a:cubicBezTo>
                      <a:pt x="134" y="0"/>
                      <a:pt x="137" y="2"/>
                      <a:pt x="137" y="6"/>
                    </a:cubicBezTo>
                    <a:cubicBezTo>
                      <a:pt x="137" y="27"/>
                      <a:pt x="137" y="27"/>
                      <a:pt x="137" y="27"/>
                    </a:cubicBezTo>
                    <a:cubicBezTo>
                      <a:pt x="137" y="32"/>
                      <a:pt x="134" y="34"/>
                      <a:pt x="130" y="34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121" y="75"/>
                      <a:pt x="121" y="75"/>
                      <a:pt x="121" y="75"/>
                    </a:cubicBezTo>
                    <a:cubicBezTo>
                      <a:pt x="124" y="75"/>
                      <a:pt x="128" y="77"/>
                      <a:pt x="128" y="82"/>
                    </a:cubicBezTo>
                    <a:lnTo>
                      <a:pt x="128" y="10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</p:grpSp>
      </p:grpSp>
      <p:cxnSp>
        <p:nvCxnSpPr>
          <p:cNvPr id="23" name="Straight Connector 22"/>
          <p:cNvCxnSpPr/>
          <p:nvPr userDrawn="1"/>
        </p:nvCxnSpPr>
        <p:spPr>
          <a:xfrm>
            <a:off x="2497138" y="1223963"/>
            <a:ext cx="628792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358546" y="1223963"/>
            <a:ext cx="1960792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598526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9533" y="519891"/>
            <a:ext cx="1959806" cy="355998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59533" y="4623978"/>
            <a:ext cx="1960468" cy="167386"/>
          </a:xfrm>
        </p:spPr>
        <p:txBody>
          <a:bodyPr anchor="b"/>
          <a:lstStyle>
            <a:lvl1pPr>
              <a:spcBef>
                <a:spcPts val="0"/>
              </a:spcBef>
              <a:defRPr sz="700" b="0"/>
            </a:lvl1pPr>
          </a:lstStyle>
          <a:p>
            <a:pPr lvl="0"/>
            <a:r>
              <a:rPr lang="en-US" dirty="0"/>
              <a:t>Source: enter text he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497138" y="1223962"/>
            <a:ext cx="6288087" cy="356740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21642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59533" y="4623978"/>
            <a:ext cx="1960468" cy="167386"/>
          </a:xfrm>
        </p:spPr>
        <p:txBody>
          <a:bodyPr anchor="b"/>
          <a:lstStyle>
            <a:lvl1pPr>
              <a:spcBef>
                <a:spcPts val="0"/>
              </a:spcBef>
              <a:defRPr sz="700" b="0"/>
            </a:lvl1pPr>
          </a:lstStyle>
          <a:p>
            <a:pPr lvl="0"/>
            <a:r>
              <a:rPr lang="en-US" dirty="0"/>
              <a:t>Source: enter text here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59533" y="519891"/>
            <a:ext cx="1959806" cy="355998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2497138" y="1223962"/>
            <a:ext cx="3102317" cy="3567401"/>
          </a:xfrm>
        </p:spPr>
        <p:txBody>
          <a:bodyPr numCol="1"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5794794" y="1223962"/>
            <a:ext cx="2985082" cy="3567401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168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or 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498125" y="1229397"/>
            <a:ext cx="4328045" cy="1964653"/>
          </a:xfrm>
        </p:spPr>
        <p:txBody>
          <a:bodyPr anchor="ctr"/>
          <a:lstStyle>
            <a:lvl1pPr algn="l">
              <a:lnSpc>
                <a:spcPct val="100000"/>
              </a:lnSpc>
              <a:defRPr sz="3600" b="1" cap="all"/>
            </a:lvl1pPr>
          </a:lstStyle>
          <a:p>
            <a:r>
              <a:rPr lang="en-US" dirty="0"/>
              <a:t>DIVIDER TIT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97139" y="3194050"/>
            <a:ext cx="4322762" cy="704850"/>
          </a:xfrm>
        </p:spPr>
        <p:txBody>
          <a:bodyPr anchor="t"/>
          <a:lstStyle>
            <a:lvl1pPr marL="0" indent="0">
              <a:buNone/>
              <a:defRPr sz="1400" cap="all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2497138" y="1414463"/>
            <a:ext cx="4322762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2497138" y="3006725"/>
            <a:ext cx="4322762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Group 20"/>
          <p:cNvGrpSpPr>
            <a:grpSpLocks noChangeAspect="1"/>
          </p:cNvGrpSpPr>
          <p:nvPr userDrawn="1"/>
        </p:nvGrpSpPr>
        <p:grpSpPr>
          <a:xfrm>
            <a:off x="7651248" y="4407954"/>
            <a:ext cx="1097216" cy="338034"/>
            <a:chOff x="5043330" y="2582427"/>
            <a:chExt cx="2714033" cy="836158"/>
          </a:xfrm>
        </p:grpSpPr>
        <p:pic>
          <p:nvPicPr>
            <p:cNvPr id="22" name="logo graphic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21205" y="2582427"/>
              <a:ext cx="836158" cy="836158"/>
            </a:xfrm>
            <a:prstGeom prst="rect">
              <a:avLst/>
            </a:prstGeom>
          </p:spPr>
        </p:pic>
        <p:grpSp>
          <p:nvGrpSpPr>
            <p:cNvPr id="23" name="letters"/>
            <p:cNvGrpSpPr/>
            <p:nvPr/>
          </p:nvGrpSpPr>
          <p:grpSpPr>
            <a:xfrm>
              <a:off x="5043330" y="2901718"/>
              <a:ext cx="1777426" cy="197580"/>
              <a:chOff x="566670" y="435864"/>
              <a:chExt cx="1169700" cy="130025"/>
            </a:xfrm>
            <a:solidFill>
              <a:schemeClr val="tx1"/>
            </a:solidFill>
          </p:grpSpPr>
          <p:sp>
            <p:nvSpPr>
              <p:cNvPr id="24" name="Freeform 6"/>
              <p:cNvSpPr>
                <a:spLocks/>
              </p:cNvSpPr>
              <p:nvPr/>
            </p:nvSpPr>
            <p:spPr bwMode="auto">
              <a:xfrm>
                <a:off x="566670" y="437296"/>
                <a:ext cx="146069" cy="127448"/>
              </a:xfrm>
              <a:custGeom>
                <a:avLst/>
                <a:gdLst>
                  <a:gd name="T0" fmla="*/ 216 w 216"/>
                  <a:gd name="T1" fmla="*/ 188 h 188"/>
                  <a:gd name="T2" fmla="*/ 178 w 216"/>
                  <a:gd name="T3" fmla="*/ 188 h 188"/>
                  <a:gd name="T4" fmla="*/ 178 w 216"/>
                  <a:gd name="T5" fmla="*/ 66 h 188"/>
                  <a:gd name="T6" fmla="*/ 113 w 216"/>
                  <a:gd name="T7" fmla="*/ 145 h 188"/>
                  <a:gd name="T8" fmla="*/ 103 w 216"/>
                  <a:gd name="T9" fmla="*/ 145 h 188"/>
                  <a:gd name="T10" fmla="*/ 38 w 216"/>
                  <a:gd name="T11" fmla="*/ 66 h 188"/>
                  <a:gd name="T12" fmla="*/ 38 w 216"/>
                  <a:gd name="T13" fmla="*/ 188 h 188"/>
                  <a:gd name="T14" fmla="*/ 0 w 216"/>
                  <a:gd name="T15" fmla="*/ 188 h 188"/>
                  <a:gd name="T16" fmla="*/ 0 w 216"/>
                  <a:gd name="T17" fmla="*/ 20 h 188"/>
                  <a:gd name="T18" fmla="*/ 20 w 216"/>
                  <a:gd name="T19" fmla="*/ 0 h 188"/>
                  <a:gd name="T20" fmla="*/ 20 w 216"/>
                  <a:gd name="T21" fmla="*/ 0 h 188"/>
                  <a:gd name="T22" fmla="*/ 38 w 216"/>
                  <a:gd name="T23" fmla="*/ 9 h 188"/>
                  <a:gd name="T24" fmla="*/ 108 w 216"/>
                  <a:gd name="T25" fmla="*/ 94 h 188"/>
                  <a:gd name="T26" fmla="*/ 182 w 216"/>
                  <a:gd name="T27" fmla="*/ 6 h 188"/>
                  <a:gd name="T28" fmla="*/ 196 w 216"/>
                  <a:gd name="T29" fmla="*/ 0 h 188"/>
                  <a:gd name="T30" fmla="*/ 196 w 216"/>
                  <a:gd name="T31" fmla="*/ 0 h 188"/>
                  <a:gd name="T32" fmla="*/ 216 w 216"/>
                  <a:gd name="T33" fmla="*/ 19 h 188"/>
                  <a:gd name="T34" fmla="*/ 216 w 216"/>
                  <a:gd name="T35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16" h="188">
                    <a:moveTo>
                      <a:pt x="216" y="188"/>
                    </a:moveTo>
                    <a:cubicBezTo>
                      <a:pt x="178" y="188"/>
                      <a:pt x="178" y="188"/>
                      <a:pt x="178" y="188"/>
                    </a:cubicBezTo>
                    <a:cubicBezTo>
                      <a:pt x="178" y="66"/>
                      <a:pt x="178" y="66"/>
                      <a:pt x="178" y="66"/>
                    </a:cubicBezTo>
                    <a:cubicBezTo>
                      <a:pt x="113" y="145"/>
                      <a:pt x="113" y="145"/>
                      <a:pt x="113" y="145"/>
                    </a:cubicBezTo>
                    <a:cubicBezTo>
                      <a:pt x="110" y="148"/>
                      <a:pt x="106" y="148"/>
                      <a:pt x="103" y="145"/>
                    </a:cubicBezTo>
                    <a:cubicBezTo>
                      <a:pt x="38" y="66"/>
                      <a:pt x="38" y="66"/>
                      <a:pt x="38" y="66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8" y="0"/>
                      <a:pt x="32" y="3"/>
                      <a:pt x="38" y="9"/>
                    </a:cubicBezTo>
                    <a:cubicBezTo>
                      <a:pt x="108" y="94"/>
                      <a:pt x="108" y="94"/>
                      <a:pt x="108" y="94"/>
                    </a:cubicBezTo>
                    <a:cubicBezTo>
                      <a:pt x="182" y="6"/>
                      <a:pt x="182" y="6"/>
                      <a:pt x="182" y="6"/>
                    </a:cubicBezTo>
                    <a:cubicBezTo>
                      <a:pt x="185" y="2"/>
                      <a:pt x="190" y="0"/>
                      <a:pt x="196" y="0"/>
                    </a:cubicBezTo>
                    <a:cubicBezTo>
                      <a:pt x="196" y="0"/>
                      <a:pt x="196" y="0"/>
                      <a:pt x="196" y="0"/>
                    </a:cubicBezTo>
                    <a:cubicBezTo>
                      <a:pt x="207" y="0"/>
                      <a:pt x="216" y="8"/>
                      <a:pt x="216" y="19"/>
                    </a:cubicBezTo>
                    <a:lnTo>
                      <a:pt x="216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25" name="Freeform 7"/>
              <p:cNvSpPr>
                <a:spLocks noEditPoints="1"/>
              </p:cNvSpPr>
              <p:nvPr/>
            </p:nvSpPr>
            <p:spPr bwMode="auto">
              <a:xfrm>
                <a:off x="1350862" y="436723"/>
                <a:ext cx="146069" cy="128020"/>
              </a:xfrm>
              <a:custGeom>
                <a:avLst/>
                <a:gdLst>
                  <a:gd name="T0" fmla="*/ 0 w 216"/>
                  <a:gd name="T1" fmla="*/ 189 h 189"/>
                  <a:gd name="T2" fmla="*/ 42 w 216"/>
                  <a:gd name="T3" fmla="*/ 189 h 189"/>
                  <a:gd name="T4" fmla="*/ 66 w 216"/>
                  <a:gd name="T5" fmla="*/ 138 h 189"/>
                  <a:gd name="T6" fmla="*/ 148 w 216"/>
                  <a:gd name="T7" fmla="*/ 138 h 189"/>
                  <a:gd name="T8" fmla="*/ 174 w 216"/>
                  <a:gd name="T9" fmla="*/ 189 h 189"/>
                  <a:gd name="T10" fmla="*/ 216 w 216"/>
                  <a:gd name="T11" fmla="*/ 189 h 189"/>
                  <a:gd name="T12" fmla="*/ 124 w 216"/>
                  <a:gd name="T13" fmla="*/ 9 h 189"/>
                  <a:gd name="T14" fmla="*/ 106 w 216"/>
                  <a:gd name="T15" fmla="*/ 0 h 189"/>
                  <a:gd name="T16" fmla="*/ 106 w 216"/>
                  <a:gd name="T17" fmla="*/ 0 h 189"/>
                  <a:gd name="T18" fmla="*/ 89 w 216"/>
                  <a:gd name="T19" fmla="*/ 9 h 189"/>
                  <a:gd name="T20" fmla="*/ 0 w 216"/>
                  <a:gd name="T21" fmla="*/ 189 h 189"/>
                  <a:gd name="T22" fmla="*/ 106 w 216"/>
                  <a:gd name="T23" fmla="*/ 55 h 189"/>
                  <a:gd name="T24" fmla="*/ 133 w 216"/>
                  <a:gd name="T25" fmla="*/ 108 h 189"/>
                  <a:gd name="T26" fmla="*/ 81 w 216"/>
                  <a:gd name="T27" fmla="*/ 108 h 189"/>
                  <a:gd name="T28" fmla="*/ 106 w 216"/>
                  <a:gd name="T29" fmla="*/ 55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16" h="189">
                    <a:moveTo>
                      <a:pt x="0" y="189"/>
                    </a:moveTo>
                    <a:cubicBezTo>
                      <a:pt x="42" y="189"/>
                      <a:pt x="42" y="189"/>
                      <a:pt x="42" y="189"/>
                    </a:cubicBezTo>
                    <a:cubicBezTo>
                      <a:pt x="66" y="138"/>
                      <a:pt x="66" y="138"/>
                      <a:pt x="66" y="138"/>
                    </a:cubicBezTo>
                    <a:cubicBezTo>
                      <a:pt x="148" y="138"/>
                      <a:pt x="148" y="138"/>
                      <a:pt x="148" y="138"/>
                    </a:cubicBezTo>
                    <a:cubicBezTo>
                      <a:pt x="174" y="189"/>
                      <a:pt x="174" y="189"/>
                      <a:pt x="174" y="189"/>
                    </a:cubicBezTo>
                    <a:cubicBezTo>
                      <a:pt x="216" y="189"/>
                      <a:pt x="216" y="189"/>
                      <a:pt x="216" y="189"/>
                    </a:cubicBezTo>
                    <a:cubicBezTo>
                      <a:pt x="124" y="9"/>
                      <a:pt x="124" y="9"/>
                      <a:pt x="124" y="9"/>
                    </a:cubicBezTo>
                    <a:cubicBezTo>
                      <a:pt x="120" y="3"/>
                      <a:pt x="114" y="0"/>
                      <a:pt x="106" y="0"/>
                    </a:cubicBezTo>
                    <a:cubicBezTo>
                      <a:pt x="106" y="0"/>
                      <a:pt x="106" y="0"/>
                      <a:pt x="106" y="0"/>
                    </a:cubicBezTo>
                    <a:cubicBezTo>
                      <a:pt x="99" y="0"/>
                      <a:pt x="93" y="3"/>
                      <a:pt x="89" y="9"/>
                    </a:cubicBezTo>
                    <a:lnTo>
                      <a:pt x="0" y="189"/>
                    </a:lnTo>
                    <a:close/>
                    <a:moveTo>
                      <a:pt x="106" y="55"/>
                    </a:moveTo>
                    <a:cubicBezTo>
                      <a:pt x="133" y="108"/>
                      <a:pt x="133" y="108"/>
                      <a:pt x="133" y="108"/>
                    </a:cubicBezTo>
                    <a:cubicBezTo>
                      <a:pt x="81" y="108"/>
                      <a:pt x="81" y="108"/>
                      <a:pt x="81" y="108"/>
                    </a:cubicBezTo>
                    <a:lnTo>
                      <a:pt x="106" y="5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26" name="Freeform 8"/>
              <p:cNvSpPr>
                <a:spLocks/>
              </p:cNvSpPr>
              <p:nvPr/>
            </p:nvSpPr>
            <p:spPr bwMode="auto">
              <a:xfrm>
                <a:off x="789211" y="437296"/>
                <a:ext cx="128598" cy="127448"/>
              </a:xfrm>
              <a:custGeom>
                <a:avLst/>
                <a:gdLst>
                  <a:gd name="T0" fmla="*/ 190 w 190"/>
                  <a:gd name="T1" fmla="*/ 188 h 188"/>
                  <a:gd name="T2" fmla="*/ 163 w 190"/>
                  <a:gd name="T3" fmla="*/ 188 h 188"/>
                  <a:gd name="T4" fmla="*/ 38 w 190"/>
                  <a:gd name="T5" fmla="*/ 62 h 188"/>
                  <a:gd name="T6" fmla="*/ 38 w 190"/>
                  <a:gd name="T7" fmla="*/ 188 h 188"/>
                  <a:gd name="T8" fmla="*/ 0 w 190"/>
                  <a:gd name="T9" fmla="*/ 188 h 188"/>
                  <a:gd name="T10" fmla="*/ 0 w 190"/>
                  <a:gd name="T11" fmla="*/ 20 h 188"/>
                  <a:gd name="T12" fmla="*/ 21 w 190"/>
                  <a:gd name="T13" fmla="*/ 0 h 188"/>
                  <a:gd name="T14" fmla="*/ 21 w 190"/>
                  <a:gd name="T15" fmla="*/ 0 h 188"/>
                  <a:gd name="T16" fmla="*/ 36 w 190"/>
                  <a:gd name="T17" fmla="*/ 6 h 188"/>
                  <a:gd name="T18" fmla="*/ 152 w 190"/>
                  <a:gd name="T19" fmla="*/ 123 h 188"/>
                  <a:gd name="T20" fmla="*/ 152 w 190"/>
                  <a:gd name="T21" fmla="*/ 12 h 188"/>
                  <a:gd name="T22" fmla="*/ 165 w 190"/>
                  <a:gd name="T23" fmla="*/ 0 h 188"/>
                  <a:gd name="T24" fmla="*/ 178 w 190"/>
                  <a:gd name="T25" fmla="*/ 0 h 188"/>
                  <a:gd name="T26" fmla="*/ 190 w 190"/>
                  <a:gd name="T27" fmla="*/ 12 h 188"/>
                  <a:gd name="T28" fmla="*/ 190 w 190"/>
                  <a:gd name="T29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0" h="188">
                    <a:moveTo>
                      <a:pt x="190" y="188"/>
                    </a:moveTo>
                    <a:cubicBezTo>
                      <a:pt x="163" y="188"/>
                      <a:pt x="163" y="188"/>
                      <a:pt x="163" y="188"/>
                    </a:cubicBezTo>
                    <a:cubicBezTo>
                      <a:pt x="38" y="62"/>
                      <a:pt x="38" y="62"/>
                      <a:pt x="38" y="62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1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7" y="0"/>
                      <a:pt x="32" y="2"/>
                      <a:pt x="36" y="6"/>
                    </a:cubicBezTo>
                    <a:cubicBezTo>
                      <a:pt x="152" y="123"/>
                      <a:pt x="152" y="123"/>
                      <a:pt x="152" y="123"/>
                    </a:cubicBezTo>
                    <a:cubicBezTo>
                      <a:pt x="152" y="12"/>
                      <a:pt x="152" y="12"/>
                      <a:pt x="152" y="12"/>
                    </a:cubicBezTo>
                    <a:cubicBezTo>
                      <a:pt x="152" y="5"/>
                      <a:pt x="158" y="0"/>
                      <a:pt x="165" y="0"/>
                    </a:cubicBezTo>
                    <a:cubicBezTo>
                      <a:pt x="178" y="0"/>
                      <a:pt x="178" y="0"/>
                      <a:pt x="178" y="0"/>
                    </a:cubicBezTo>
                    <a:cubicBezTo>
                      <a:pt x="185" y="0"/>
                      <a:pt x="190" y="5"/>
                      <a:pt x="190" y="12"/>
                    </a:cubicBezTo>
                    <a:lnTo>
                      <a:pt x="190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27" name="Freeform 9"/>
              <p:cNvSpPr>
                <a:spLocks noEditPoints="1"/>
              </p:cNvSpPr>
              <p:nvPr/>
            </p:nvSpPr>
            <p:spPr bwMode="auto">
              <a:xfrm>
                <a:off x="943586" y="437296"/>
                <a:ext cx="127739" cy="127448"/>
              </a:xfrm>
              <a:custGeom>
                <a:avLst/>
                <a:gdLst>
                  <a:gd name="T0" fmla="*/ 117 w 189"/>
                  <a:gd name="T1" fmla="*/ 4 h 188"/>
                  <a:gd name="T2" fmla="*/ 72 w 189"/>
                  <a:gd name="T3" fmla="*/ 0 h 188"/>
                  <a:gd name="T4" fmla="*/ 19 w 189"/>
                  <a:gd name="T5" fmla="*/ 0 h 188"/>
                  <a:gd name="T6" fmla="*/ 0 w 189"/>
                  <a:gd name="T7" fmla="*/ 18 h 188"/>
                  <a:gd name="T8" fmla="*/ 0 w 189"/>
                  <a:gd name="T9" fmla="*/ 188 h 188"/>
                  <a:gd name="T10" fmla="*/ 62 w 189"/>
                  <a:gd name="T11" fmla="*/ 188 h 188"/>
                  <a:gd name="T12" fmla="*/ 115 w 189"/>
                  <a:gd name="T13" fmla="*/ 182 h 188"/>
                  <a:gd name="T14" fmla="*/ 189 w 189"/>
                  <a:gd name="T15" fmla="*/ 91 h 188"/>
                  <a:gd name="T16" fmla="*/ 117 w 189"/>
                  <a:gd name="T17" fmla="*/ 4 h 188"/>
                  <a:gd name="T18" fmla="*/ 105 w 189"/>
                  <a:gd name="T19" fmla="*/ 148 h 188"/>
                  <a:gd name="T20" fmla="*/ 62 w 189"/>
                  <a:gd name="T21" fmla="*/ 153 h 188"/>
                  <a:gd name="T22" fmla="*/ 62 w 189"/>
                  <a:gd name="T23" fmla="*/ 153 h 188"/>
                  <a:gd name="T24" fmla="*/ 38 w 189"/>
                  <a:gd name="T25" fmla="*/ 153 h 188"/>
                  <a:gd name="T26" fmla="*/ 38 w 189"/>
                  <a:gd name="T27" fmla="*/ 153 h 188"/>
                  <a:gd name="T28" fmla="*/ 38 w 189"/>
                  <a:gd name="T29" fmla="*/ 34 h 188"/>
                  <a:gd name="T30" fmla="*/ 38 w 189"/>
                  <a:gd name="T31" fmla="*/ 34 h 188"/>
                  <a:gd name="T32" fmla="*/ 68 w 189"/>
                  <a:gd name="T33" fmla="*/ 34 h 188"/>
                  <a:gd name="T34" fmla="*/ 68 w 189"/>
                  <a:gd name="T35" fmla="*/ 34 h 188"/>
                  <a:gd name="T36" fmla="*/ 107 w 189"/>
                  <a:gd name="T37" fmla="*/ 38 h 188"/>
                  <a:gd name="T38" fmla="*/ 150 w 189"/>
                  <a:gd name="T39" fmla="*/ 91 h 188"/>
                  <a:gd name="T40" fmla="*/ 105 w 189"/>
                  <a:gd name="T41" fmla="*/ 14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89" h="188">
                    <a:moveTo>
                      <a:pt x="117" y="4"/>
                    </a:moveTo>
                    <a:cubicBezTo>
                      <a:pt x="104" y="1"/>
                      <a:pt x="89" y="0"/>
                      <a:pt x="72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9" y="0"/>
                      <a:pt x="0" y="8"/>
                      <a:pt x="0" y="1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62" y="188"/>
                      <a:pt x="62" y="188"/>
                      <a:pt x="62" y="188"/>
                    </a:cubicBezTo>
                    <a:cubicBezTo>
                      <a:pt x="84" y="188"/>
                      <a:pt x="100" y="186"/>
                      <a:pt x="115" y="182"/>
                    </a:cubicBezTo>
                    <a:cubicBezTo>
                      <a:pt x="163" y="168"/>
                      <a:pt x="189" y="136"/>
                      <a:pt x="189" y="91"/>
                    </a:cubicBezTo>
                    <a:cubicBezTo>
                      <a:pt x="189" y="46"/>
                      <a:pt x="164" y="15"/>
                      <a:pt x="117" y="4"/>
                    </a:cubicBezTo>
                    <a:close/>
                    <a:moveTo>
                      <a:pt x="105" y="148"/>
                    </a:moveTo>
                    <a:cubicBezTo>
                      <a:pt x="94" y="151"/>
                      <a:pt x="79" y="153"/>
                      <a:pt x="62" y="153"/>
                    </a:cubicBezTo>
                    <a:cubicBezTo>
                      <a:pt x="62" y="153"/>
                      <a:pt x="62" y="153"/>
                      <a:pt x="62" y="153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68" y="34"/>
                      <a:pt x="68" y="34"/>
                      <a:pt x="68" y="34"/>
                    </a:cubicBezTo>
                    <a:cubicBezTo>
                      <a:pt x="68" y="34"/>
                      <a:pt x="68" y="34"/>
                      <a:pt x="68" y="34"/>
                    </a:cubicBezTo>
                    <a:cubicBezTo>
                      <a:pt x="86" y="34"/>
                      <a:pt x="97" y="35"/>
                      <a:pt x="107" y="38"/>
                    </a:cubicBezTo>
                    <a:cubicBezTo>
                      <a:pt x="136" y="46"/>
                      <a:pt x="150" y="63"/>
                      <a:pt x="150" y="91"/>
                    </a:cubicBezTo>
                    <a:cubicBezTo>
                      <a:pt x="150" y="120"/>
                      <a:pt x="135" y="139"/>
                      <a:pt x="105" y="14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28" name="Freeform 10"/>
              <p:cNvSpPr>
                <a:spLocks noEditPoints="1"/>
              </p:cNvSpPr>
              <p:nvPr/>
            </p:nvSpPr>
            <p:spPr bwMode="auto">
              <a:xfrm>
                <a:off x="1513256" y="437296"/>
                <a:ext cx="110841" cy="127448"/>
              </a:xfrm>
              <a:custGeom>
                <a:avLst/>
                <a:gdLst>
                  <a:gd name="T0" fmla="*/ 113 w 164"/>
                  <a:gd name="T1" fmla="*/ 113 h 188"/>
                  <a:gd name="T2" fmla="*/ 158 w 164"/>
                  <a:gd name="T3" fmla="*/ 58 h 188"/>
                  <a:gd name="T4" fmla="*/ 82 w 164"/>
                  <a:gd name="T5" fmla="*/ 0 h 188"/>
                  <a:gd name="T6" fmla="*/ 19 w 164"/>
                  <a:gd name="T7" fmla="*/ 0 h 188"/>
                  <a:gd name="T8" fmla="*/ 0 w 164"/>
                  <a:gd name="T9" fmla="*/ 18 h 188"/>
                  <a:gd name="T10" fmla="*/ 0 w 164"/>
                  <a:gd name="T11" fmla="*/ 188 h 188"/>
                  <a:gd name="T12" fmla="*/ 38 w 164"/>
                  <a:gd name="T13" fmla="*/ 188 h 188"/>
                  <a:gd name="T14" fmla="*/ 38 w 164"/>
                  <a:gd name="T15" fmla="*/ 118 h 188"/>
                  <a:gd name="T16" fmla="*/ 72 w 164"/>
                  <a:gd name="T17" fmla="*/ 118 h 188"/>
                  <a:gd name="T18" fmla="*/ 119 w 164"/>
                  <a:gd name="T19" fmla="*/ 188 h 188"/>
                  <a:gd name="T20" fmla="*/ 164 w 164"/>
                  <a:gd name="T21" fmla="*/ 188 h 188"/>
                  <a:gd name="T22" fmla="*/ 113 w 164"/>
                  <a:gd name="T23" fmla="*/ 113 h 188"/>
                  <a:gd name="T24" fmla="*/ 38 w 164"/>
                  <a:gd name="T25" fmla="*/ 83 h 188"/>
                  <a:gd name="T26" fmla="*/ 38 w 164"/>
                  <a:gd name="T27" fmla="*/ 34 h 188"/>
                  <a:gd name="T28" fmla="*/ 85 w 164"/>
                  <a:gd name="T29" fmla="*/ 34 h 188"/>
                  <a:gd name="T30" fmla="*/ 118 w 164"/>
                  <a:gd name="T31" fmla="*/ 59 h 188"/>
                  <a:gd name="T32" fmla="*/ 77 w 164"/>
                  <a:gd name="T33" fmla="*/ 83 h 188"/>
                  <a:gd name="T34" fmla="*/ 38 w 164"/>
                  <a:gd name="T35" fmla="*/ 83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4" h="188">
                    <a:moveTo>
                      <a:pt x="113" y="113"/>
                    </a:moveTo>
                    <a:cubicBezTo>
                      <a:pt x="142" y="105"/>
                      <a:pt x="158" y="86"/>
                      <a:pt x="158" y="58"/>
                    </a:cubicBezTo>
                    <a:cubicBezTo>
                      <a:pt x="158" y="22"/>
                      <a:pt x="129" y="0"/>
                      <a:pt x="82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8" y="0"/>
                      <a:pt x="0" y="8"/>
                      <a:pt x="0" y="1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38" y="118"/>
                      <a:pt x="38" y="118"/>
                      <a:pt x="38" y="118"/>
                    </a:cubicBezTo>
                    <a:cubicBezTo>
                      <a:pt x="72" y="118"/>
                      <a:pt x="72" y="118"/>
                      <a:pt x="72" y="118"/>
                    </a:cubicBezTo>
                    <a:cubicBezTo>
                      <a:pt x="119" y="188"/>
                      <a:pt x="119" y="188"/>
                      <a:pt x="119" y="188"/>
                    </a:cubicBezTo>
                    <a:cubicBezTo>
                      <a:pt x="164" y="188"/>
                      <a:pt x="164" y="188"/>
                      <a:pt x="164" y="188"/>
                    </a:cubicBezTo>
                    <a:lnTo>
                      <a:pt x="113" y="113"/>
                    </a:lnTo>
                    <a:close/>
                    <a:moveTo>
                      <a:pt x="38" y="83"/>
                    </a:moveTo>
                    <a:cubicBezTo>
                      <a:pt x="38" y="34"/>
                      <a:pt x="38" y="34"/>
                      <a:pt x="38" y="34"/>
                    </a:cubicBezTo>
                    <a:cubicBezTo>
                      <a:pt x="85" y="34"/>
                      <a:pt x="85" y="34"/>
                      <a:pt x="85" y="34"/>
                    </a:cubicBezTo>
                    <a:cubicBezTo>
                      <a:pt x="98" y="34"/>
                      <a:pt x="118" y="38"/>
                      <a:pt x="118" y="59"/>
                    </a:cubicBezTo>
                    <a:cubicBezTo>
                      <a:pt x="118" y="69"/>
                      <a:pt x="114" y="83"/>
                      <a:pt x="77" y="83"/>
                    </a:cubicBezTo>
                    <a:lnTo>
                      <a:pt x="38" y="8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29" name="Freeform 11"/>
              <p:cNvSpPr>
                <a:spLocks/>
              </p:cNvSpPr>
              <p:nvPr/>
            </p:nvSpPr>
            <p:spPr bwMode="auto">
              <a:xfrm>
                <a:off x="738516" y="437296"/>
                <a:ext cx="25777" cy="127448"/>
              </a:xfrm>
              <a:custGeom>
                <a:avLst/>
                <a:gdLst>
                  <a:gd name="T0" fmla="*/ 0 w 38"/>
                  <a:gd name="T1" fmla="*/ 188 h 188"/>
                  <a:gd name="T2" fmla="*/ 38 w 38"/>
                  <a:gd name="T3" fmla="*/ 188 h 188"/>
                  <a:gd name="T4" fmla="*/ 38 w 38"/>
                  <a:gd name="T5" fmla="*/ 12 h 188"/>
                  <a:gd name="T6" fmla="*/ 25 w 38"/>
                  <a:gd name="T7" fmla="*/ 0 h 188"/>
                  <a:gd name="T8" fmla="*/ 13 w 38"/>
                  <a:gd name="T9" fmla="*/ 0 h 188"/>
                  <a:gd name="T10" fmla="*/ 0 w 38"/>
                  <a:gd name="T11" fmla="*/ 12 h 188"/>
                  <a:gd name="T12" fmla="*/ 0 w 38"/>
                  <a:gd name="T13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" h="188">
                    <a:moveTo>
                      <a:pt x="0" y="188"/>
                    </a:moveTo>
                    <a:cubicBezTo>
                      <a:pt x="38" y="188"/>
                      <a:pt x="38" y="188"/>
                      <a:pt x="38" y="188"/>
                    </a:cubicBezTo>
                    <a:cubicBezTo>
                      <a:pt x="38" y="12"/>
                      <a:pt x="38" y="12"/>
                      <a:pt x="38" y="12"/>
                    </a:cubicBezTo>
                    <a:cubicBezTo>
                      <a:pt x="38" y="5"/>
                      <a:pt x="32" y="0"/>
                      <a:pt x="25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0" y="5"/>
                      <a:pt x="0" y="12"/>
                    </a:cubicBezTo>
                    <a:lnTo>
                      <a:pt x="0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0" name="Freeform 12"/>
              <p:cNvSpPr>
                <a:spLocks/>
              </p:cNvSpPr>
              <p:nvPr/>
            </p:nvSpPr>
            <p:spPr bwMode="auto">
              <a:xfrm>
                <a:off x="1217394" y="437296"/>
                <a:ext cx="118001" cy="127448"/>
              </a:xfrm>
              <a:custGeom>
                <a:avLst/>
                <a:gdLst>
                  <a:gd name="T0" fmla="*/ 174 w 174"/>
                  <a:gd name="T1" fmla="*/ 188 h 188"/>
                  <a:gd name="T2" fmla="*/ 137 w 174"/>
                  <a:gd name="T3" fmla="*/ 188 h 188"/>
                  <a:gd name="T4" fmla="*/ 137 w 174"/>
                  <a:gd name="T5" fmla="*/ 110 h 188"/>
                  <a:gd name="T6" fmla="*/ 38 w 174"/>
                  <a:gd name="T7" fmla="*/ 110 h 188"/>
                  <a:gd name="T8" fmla="*/ 38 w 174"/>
                  <a:gd name="T9" fmla="*/ 188 h 188"/>
                  <a:gd name="T10" fmla="*/ 0 w 174"/>
                  <a:gd name="T11" fmla="*/ 188 h 188"/>
                  <a:gd name="T12" fmla="*/ 0 w 174"/>
                  <a:gd name="T13" fmla="*/ 12 h 188"/>
                  <a:gd name="T14" fmla="*/ 13 w 174"/>
                  <a:gd name="T15" fmla="*/ 0 h 188"/>
                  <a:gd name="T16" fmla="*/ 25 w 174"/>
                  <a:gd name="T17" fmla="*/ 0 h 188"/>
                  <a:gd name="T18" fmla="*/ 38 w 174"/>
                  <a:gd name="T19" fmla="*/ 12 h 188"/>
                  <a:gd name="T20" fmla="*/ 38 w 174"/>
                  <a:gd name="T21" fmla="*/ 75 h 188"/>
                  <a:gd name="T22" fmla="*/ 137 w 174"/>
                  <a:gd name="T23" fmla="*/ 75 h 188"/>
                  <a:gd name="T24" fmla="*/ 137 w 174"/>
                  <a:gd name="T25" fmla="*/ 12 h 188"/>
                  <a:gd name="T26" fmla="*/ 149 w 174"/>
                  <a:gd name="T27" fmla="*/ 0 h 188"/>
                  <a:gd name="T28" fmla="*/ 162 w 174"/>
                  <a:gd name="T29" fmla="*/ 0 h 188"/>
                  <a:gd name="T30" fmla="*/ 174 w 174"/>
                  <a:gd name="T31" fmla="*/ 12 h 188"/>
                  <a:gd name="T32" fmla="*/ 174 w 174"/>
                  <a:gd name="T33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4" h="188">
                    <a:moveTo>
                      <a:pt x="174" y="188"/>
                    </a:moveTo>
                    <a:cubicBezTo>
                      <a:pt x="137" y="188"/>
                      <a:pt x="137" y="188"/>
                      <a:pt x="137" y="188"/>
                    </a:cubicBezTo>
                    <a:cubicBezTo>
                      <a:pt x="137" y="110"/>
                      <a:pt x="137" y="110"/>
                      <a:pt x="137" y="110"/>
                    </a:cubicBezTo>
                    <a:cubicBezTo>
                      <a:pt x="38" y="110"/>
                      <a:pt x="38" y="110"/>
                      <a:pt x="38" y="110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6" y="0"/>
                      <a:pt x="13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32" y="0"/>
                      <a:pt x="38" y="5"/>
                      <a:pt x="38" y="12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137" y="75"/>
                      <a:pt x="137" y="75"/>
                      <a:pt x="137" y="75"/>
                    </a:cubicBezTo>
                    <a:cubicBezTo>
                      <a:pt x="137" y="12"/>
                      <a:pt x="137" y="12"/>
                      <a:pt x="137" y="12"/>
                    </a:cubicBezTo>
                    <a:cubicBezTo>
                      <a:pt x="137" y="5"/>
                      <a:pt x="142" y="0"/>
                      <a:pt x="149" y="0"/>
                    </a:cubicBezTo>
                    <a:cubicBezTo>
                      <a:pt x="162" y="0"/>
                      <a:pt x="162" y="0"/>
                      <a:pt x="162" y="0"/>
                    </a:cubicBezTo>
                    <a:cubicBezTo>
                      <a:pt x="169" y="0"/>
                      <a:pt x="174" y="5"/>
                      <a:pt x="174" y="12"/>
                    </a:cubicBezTo>
                    <a:lnTo>
                      <a:pt x="174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1" name="Freeform 13"/>
              <p:cNvSpPr>
                <a:spLocks/>
              </p:cNvSpPr>
              <p:nvPr/>
            </p:nvSpPr>
            <p:spPr bwMode="auto">
              <a:xfrm>
                <a:off x="1085646" y="435864"/>
                <a:ext cx="108836" cy="130025"/>
              </a:xfrm>
              <a:custGeom>
                <a:avLst/>
                <a:gdLst>
                  <a:gd name="T0" fmla="*/ 90 w 161"/>
                  <a:gd name="T1" fmla="*/ 78 h 192"/>
                  <a:gd name="T2" fmla="*/ 46 w 161"/>
                  <a:gd name="T3" fmla="*/ 56 h 192"/>
                  <a:gd name="T4" fmla="*/ 83 w 161"/>
                  <a:gd name="T5" fmla="*/ 36 h 192"/>
                  <a:gd name="T6" fmla="*/ 139 w 161"/>
                  <a:gd name="T7" fmla="*/ 49 h 192"/>
                  <a:gd name="T8" fmla="*/ 140 w 161"/>
                  <a:gd name="T9" fmla="*/ 49 h 192"/>
                  <a:gd name="T10" fmla="*/ 145 w 161"/>
                  <a:gd name="T11" fmla="*/ 47 h 192"/>
                  <a:gd name="T12" fmla="*/ 156 w 161"/>
                  <a:gd name="T13" fmla="*/ 25 h 192"/>
                  <a:gd name="T14" fmla="*/ 156 w 161"/>
                  <a:gd name="T15" fmla="*/ 23 h 192"/>
                  <a:gd name="T16" fmla="*/ 153 w 161"/>
                  <a:gd name="T17" fmla="*/ 18 h 192"/>
                  <a:gd name="T18" fmla="*/ 152 w 161"/>
                  <a:gd name="T19" fmla="*/ 17 h 192"/>
                  <a:gd name="T20" fmla="*/ 81 w 161"/>
                  <a:gd name="T21" fmla="*/ 0 h 192"/>
                  <a:gd name="T22" fmla="*/ 7 w 161"/>
                  <a:gd name="T23" fmla="*/ 57 h 192"/>
                  <a:gd name="T24" fmla="*/ 25 w 161"/>
                  <a:gd name="T25" fmla="*/ 96 h 192"/>
                  <a:gd name="T26" fmla="*/ 80 w 161"/>
                  <a:gd name="T27" fmla="*/ 113 h 192"/>
                  <a:gd name="T28" fmla="*/ 122 w 161"/>
                  <a:gd name="T29" fmla="*/ 133 h 192"/>
                  <a:gd name="T30" fmla="*/ 78 w 161"/>
                  <a:gd name="T31" fmla="*/ 157 h 192"/>
                  <a:gd name="T32" fmla="*/ 22 w 161"/>
                  <a:gd name="T33" fmla="*/ 142 h 192"/>
                  <a:gd name="T34" fmla="*/ 18 w 161"/>
                  <a:gd name="T35" fmla="*/ 139 h 192"/>
                  <a:gd name="T36" fmla="*/ 15 w 161"/>
                  <a:gd name="T37" fmla="*/ 143 h 192"/>
                  <a:gd name="T38" fmla="*/ 2 w 161"/>
                  <a:gd name="T39" fmla="*/ 166 h 192"/>
                  <a:gd name="T40" fmla="*/ 0 w 161"/>
                  <a:gd name="T41" fmla="*/ 170 h 192"/>
                  <a:gd name="T42" fmla="*/ 4 w 161"/>
                  <a:gd name="T43" fmla="*/ 172 h 192"/>
                  <a:gd name="T44" fmla="*/ 77 w 161"/>
                  <a:gd name="T45" fmla="*/ 192 h 192"/>
                  <a:gd name="T46" fmla="*/ 161 w 161"/>
                  <a:gd name="T47" fmla="*/ 132 h 192"/>
                  <a:gd name="T48" fmla="*/ 90 w 161"/>
                  <a:gd name="T49" fmla="*/ 78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61" h="192">
                    <a:moveTo>
                      <a:pt x="90" y="78"/>
                    </a:moveTo>
                    <a:cubicBezTo>
                      <a:pt x="63" y="74"/>
                      <a:pt x="46" y="71"/>
                      <a:pt x="46" y="56"/>
                    </a:cubicBezTo>
                    <a:cubicBezTo>
                      <a:pt x="46" y="43"/>
                      <a:pt x="60" y="36"/>
                      <a:pt x="83" y="36"/>
                    </a:cubicBezTo>
                    <a:cubicBezTo>
                      <a:pt x="109" y="36"/>
                      <a:pt x="130" y="45"/>
                      <a:pt x="139" y="49"/>
                    </a:cubicBezTo>
                    <a:cubicBezTo>
                      <a:pt x="139" y="49"/>
                      <a:pt x="139" y="49"/>
                      <a:pt x="140" y="49"/>
                    </a:cubicBezTo>
                    <a:cubicBezTo>
                      <a:pt x="142" y="49"/>
                      <a:pt x="144" y="49"/>
                      <a:pt x="145" y="47"/>
                    </a:cubicBezTo>
                    <a:cubicBezTo>
                      <a:pt x="156" y="25"/>
                      <a:pt x="156" y="25"/>
                      <a:pt x="156" y="25"/>
                    </a:cubicBezTo>
                    <a:cubicBezTo>
                      <a:pt x="156" y="24"/>
                      <a:pt x="156" y="23"/>
                      <a:pt x="156" y="23"/>
                    </a:cubicBezTo>
                    <a:cubicBezTo>
                      <a:pt x="156" y="21"/>
                      <a:pt x="155" y="19"/>
                      <a:pt x="153" y="18"/>
                    </a:cubicBezTo>
                    <a:cubicBezTo>
                      <a:pt x="152" y="17"/>
                      <a:pt x="152" y="17"/>
                      <a:pt x="152" y="17"/>
                    </a:cubicBezTo>
                    <a:cubicBezTo>
                      <a:pt x="133" y="7"/>
                      <a:pt x="106" y="0"/>
                      <a:pt x="81" y="0"/>
                    </a:cubicBezTo>
                    <a:cubicBezTo>
                      <a:pt x="35" y="0"/>
                      <a:pt x="7" y="22"/>
                      <a:pt x="7" y="57"/>
                    </a:cubicBezTo>
                    <a:cubicBezTo>
                      <a:pt x="7" y="75"/>
                      <a:pt x="13" y="87"/>
                      <a:pt x="25" y="96"/>
                    </a:cubicBezTo>
                    <a:cubicBezTo>
                      <a:pt x="40" y="107"/>
                      <a:pt x="61" y="110"/>
                      <a:pt x="80" y="113"/>
                    </a:cubicBezTo>
                    <a:cubicBezTo>
                      <a:pt x="106" y="117"/>
                      <a:pt x="122" y="119"/>
                      <a:pt x="122" y="133"/>
                    </a:cubicBezTo>
                    <a:cubicBezTo>
                      <a:pt x="122" y="155"/>
                      <a:pt x="91" y="157"/>
                      <a:pt x="78" y="157"/>
                    </a:cubicBezTo>
                    <a:cubicBezTo>
                      <a:pt x="57" y="157"/>
                      <a:pt x="38" y="152"/>
                      <a:pt x="22" y="142"/>
                    </a:cubicBezTo>
                    <a:cubicBezTo>
                      <a:pt x="18" y="139"/>
                      <a:pt x="18" y="139"/>
                      <a:pt x="18" y="139"/>
                    </a:cubicBezTo>
                    <a:cubicBezTo>
                      <a:pt x="15" y="143"/>
                      <a:pt x="15" y="143"/>
                      <a:pt x="15" y="143"/>
                    </a:cubicBezTo>
                    <a:cubicBezTo>
                      <a:pt x="2" y="166"/>
                      <a:pt x="2" y="166"/>
                      <a:pt x="2" y="166"/>
                    </a:cubicBezTo>
                    <a:cubicBezTo>
                      <a:pt x="0" y="170"/>
                      <a:pt x="0" y="170"/>
                      <a:pt x="0" y="170"/>
                    </a:cubicBezTo>
                    <a:cubicBezTo>
                      <a:pt x="4" y="172"/>
                      <a:pt x="4" y="172"/>
                      <a:pt x="4" y="172"/>
                    </a:cubicBezTo>
                    <a:cubicBezTo>
                      <a:pt x="18" y="181"/>
                      <a:pt x="42" y="192"/>
                      <a:pt x="77" y="192"/>
                    </a:cubicBezTo>
                    <a:cubicBezTo>
                      <a:pt x="128" y="192"/>
                      <a:pt x="161" y="169"/>
                      <a:pt x="161" y="132"/>
                    </a:cubicBezTo>
                    <a:cubicBezTo>
                      <a:pt x="161" y="88"/>
                      <a:pt x="122" y="82"/>
                      <a:pt x="90" y="7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2" name="Freeform 14"/>
              <p:cNvSpPr>
                <a:spLocks/>
              </p:cNvSpPr>
              <p:nvPr/>
            </p:nvSpPr>
            <p:spPr bwMode="auto">
              <a:xfrm>
                <a:off x="1642427" y="437296"/>
                <a:ext cx="93943" cy="127448"/>
              </a:xfrm>
              <a:custGeom>
                <a:avLst/>
                <a:gdLst>
                  <a:gd name="T0" fmla="*/ 128 w 139"/>
                  <a:gd name="T1" fmla="*/ 103 h 188"/>
                  <a:gd name="T2" fmla="*/ 121 w 139"/>
                  <a:gd name="T3" fmla="*/ 110 h 188"/>
                  <a:gd name="T4" fmla="*/ 38 w 139"/>
                  <a:gd name="T5" fmla="*/ 110 h 188"/>
                  <a:gd name="T6" fmla="*/ 38 w 139"/>
                  <a:gd name="T7" fmla="*/ 153 h 188"/>
                  <a:gd name="T8" fmla="*/ 139 w 139"/>
                  <a:gd name="T9" fmla="*/ 153 h 188"/>
                  <a:gd name="T10" fmla="*/ 139 w 139"/>
                  <a:gd name="T11" fmla="*/ 188 h 188"/>
                  <a:gd name="T12" fmla="*/ 0 w 139"/>
                  <a:gd name="T13" fmla="*/ 188 h 188"/>
                  <a:gd name="T14" fmla="*/ 0 w 139"/>
                  <a:gd name="T15" fmla="*/ 18 h 188"/>
                  <a:gd name="T16" fmla="*/ 19 w 139"/>
                  <a:gd name="T17" fmla="*/ 0 h 188"/>
                  <a:gd name="T18" fmla="*/ 130 w 139"/>
                  <a:gd name="T19" fmla="*/ 0 h 188"/>
                  <a:gd name="T20" fmla="*/ 137 w 139"/>
                  <a:gd name="T21" fmla="*/ 6 h 188"/>
                  <a:gd name="T22" fmla="*/ 137 w 139"/>
                  <a:gd name="T23" fmla="*/ 27 h 188"/>
                  <a:gd name="T24" fmla="*/ 130 w 139"/>
                  <a:gd name="T25" fmla="*/ 34 h 188"/>
                  <a:gd name="T26" fmla="*/ 38 w 139"/>
                  <a:gd name="T27" fmla="*/ 34 h 188"/>
                  <a:gd name="T28" fmla="*/ 38 w 139"/>
                  <a:gd name="T29" fmla="*/ 75 h 188"/>
                  <a:gd name="T30" fmla="*/ 121 w 139"/>
                  <a:gd name="T31" fmla="*/ 75 h 188"/>
                  <a:gd name="T32" fmla="*/ 128 w 139"/>
                  <a:gd name="T33" fmla="*/ 82 h 188"/>
                  <a:gd name="T34" fmla="*/ 128 w 139"/>
                  <a:gd name="T35" fmla="*/ 103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9" h="188">
                    <a:moveTo>
                      <a:pt x="128" y="103"/>
                    </a:moveTo>
                    <a:cubicBezTo>
                      <a:pt x="128" y="107"/>
                      <a:pt x="124" y="110"/>
                      <a:pt x="121" y="110"/>
                    </a:cubicBezTo>
                    <a:cubicBezTo>
                      <a:pt x="38" y="110"/>
                      <a:pt x="38" y="110"/>
                      <a:pt x="38" y="110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139" y="153"/>
                      <a:pt x="139" y="153"/>
                      <a:pt x="139" y="153"/>
                    </a:cubicBezTo>
                    <a:cubicBezTo>
                      <a:pt x="139" y="188"/>
                      <a:pt x="139" y="188"/>
                      <a:pt x="139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9" y="0"/>
                      <a:pt x="19" y="0"/>
                    </a:cubicBezTo>
                    <a:cubicBezTo>
                      <a:pt x="130" y="0"/>
                      <a:pt x="130" y="0"/>
                      <a:pt x="130" y="0"/>
                    </a:cubicBezTo>
                    <a:cubicBezTo>
                      <a:pt x="134" y="0"/>
                      <a:pt x="137" y="2"/>
                      <a:pt x="137" y="6"/>
                    </a:cubicBezTo>
                    <a:cubicBezTo>
                      <a:pt x="137" y="27"/>
                      <a:pt x="137" y="27"/>
                      <a:pt x="137" y="27"/>
                    </a:cubicBezTo>
                    <a:cubicBezTo>
                      <a:pt x="137" y="32"/>
                      <a:pt x="134" y="34"/>
                      <a:pt x="130" y="34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121" y="75"/>
                      <a:pt x="121" y="75"/>
                      <a:pt x="121" y="75"/>
                    </a:cubicBezTo>
                    <a:cubicBezTo>
                      <a:pt x="124" y="75"/>
                      <a:pt x="128" y="77"/>
                      <a:pt x="128" y="82"/>
                    </a:cubicBezTo>
                    <a:lnTo>
                      <a:pt x="128" y="10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206750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7777" y="1223963"/>
            <a:ext cx="8417448" cy="1970087"/>
          </a:xfrm>
        </p:spPr>
        <p:txBody>
          <a:bodyPr anchor="ctr"/>
          <a:lstStyle>
            <a:lvl1pPr algn="ctr">
              <a:lnSpc>
                <a:spcPct val="100000"/>
              </a:lnSpc>
              <a:defRPr sz="4000" b="1" cap="all"/>
            </a:lvl1pPr>
          </a:lstStyle>
          <a:p>
            <a:r>
              <a:rPr lang="en-US" dirty="0"/>
              <a:t>STATEMENT slid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67778" y="519113"/>
            <a:ext cx="8417448" cy="704850"/>
          </a:xfrm>
        </p:spPr>
        <p:txBody>
          <a:bodyPr anchor="t"/>
          <a:lstStyle>
            <a:lvl1pPr marL="0" indent="0">
              <a:buNone/>
              <a:defRPr sz="1200" cap="none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ection or Chapter Title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367777" y="339725"/>
            <a:ext cx="8417448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Group 20"/>
          <p:cNvGrpSpPr>
            <a:grpSpLocks noChangeAspect="1"/>
          </p:cNvGrpSpPr>
          <p:nvPr userDrawn="1"/>
        </p:nvGrpSpPr>
        <p:grpSpPr>
          <a:xfrm>
            <a:off x="7651248" y="4407954"/>
            <a:ext cx="1097216" cy="338034"/>
            <a:chOff x="5043330" y="2582427"/>
            <a:chExt cx="2714033" cy="836158"/>
          </a:xfrm>
        </p:grpSpPr>
        <p:pic>
          <p:nvPicPr>
            <p:cNvPr id="22" name="logo graphic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21205" y="2582427"/>
              <a:ext cx="836158" cy="836158"/>
            </a:xfrm>
            <a:prstGeom prst="rect">
              <a:avLst/>
            </a:prstGeom>
          </p:spPr>
        </p:pic>
        <p:grpSp>
          <p:nvGrpSpPr>
            <p:cNvPr id="23" name="letters"/>
            <p:cNvGrpSpPr/>
            <p:nvPr/>
          </p:nvGrpSpPr>
          <p:grpSpPr>
            <a:xfrm>
              <a:off x="5043330" y="2901718"/>
              <a:ext cx="1777426" cy="197580"/>
              <a:chOff x="566670" y="435864"/>
              <a:chExt cx="1169700" cy="130025"/>
            </a:xfrm>
            <a:solidFill>
              <a:schemeClr val="tx1"/>
            </a:solidFill>
          </p:grpSpPr>
          <p:sp>
            <p:nvSpPr>
              <p:cNvPr id="24" name="Freeform 6"/>
              <p:cNvSpPr>
                <a:spLocks/>
              </p:cNvSpPr>
              <p:nvPr/>
            </p:nvSpPr>
            <p:spPr bwMode="auto">
              <a:xfrm>
                <a:off x="566670" y="437296"/>
                <a:ext cx="146069" cy="127448"/>
              </a:xfrm>
              <a:custGeom>
                <a:avLst/>
                <a:gdLst>
                  <a:gd name="T0" fmla="*/ 216 w 216"/>
                  <a:gd name="T1" fmla="*/ 188 h 188"/>
                  <a:gd name="T2" fmla="*/ 178 w 216"/>
                  <a:gd name="T3" fmla="*/ 188 h 188"/>
                  <a:gd name="T4" fmla="*/ 178 w 216"/>
                  <a:gd name="T5" fmla="*/ 66 h 188"/>
                  <a:gd name="T6" fmla="*/ 113 w 216"/>
                  <a:gd name="T7" fmla="*/ 145 h 188"/>
                  <a:gd name="T8" fmla="*/ 103 w 216"/>
                  <a:gd name="T9" fmla="*/ 145 h 188"/>
                  <a:gd name="T10" fmla="*/ 38 w 216"/>
                  <a:gd name="T11" fmla="*/ 66 h 188"/>
                  <a:gd name="T12" fmla="*/ 38 w 216"/>
                  <a:gd name="T13" fmla="*/ 188 h 188"/>
                  <a:gd name="T14" fmla="*/ 0 w 216"/>
                  <a:gd name="T15" fmla="*/ 188 h 188"/>
                  <a:gd name="T16" fmla="*/ 0 w 216"/>
                  <a:gd name="T17" fmla="*/ 20 h 188"/>
                  <a:gd name="T18" fmla="*/ 20 w 216"/>
                  <a:gd name="T19" fmla="*/ 0 h 188"/>
                  <a:gd name="T20" fmla="*/ 20 w 216"/>
                  <a:gd name="T21" fmla="*/ 0 h 188"/>
                  <a:gd name="T22" fmla="*/ 38 w 216"/>
                  <a:gd name="T23" fmla="*/ 9 h 188"/>
                  <a:gd name="T24" fmla="*/ 108 w 216"/>
                  <a:gd name="T25" fmla="*/ 94 h 188"/>
                  <a:gd name="T26" fmla="*/ 182 w 216"/>
                  <a:gd name="T27" fmla="*/ 6 h 188"/>
                  <a:gd name="T28" fmla="*/ 196 w 216"/>
                  <a:gd name="T29" fmla="*/ 0 h 188"/>
                  <a:gd name="T30" fmla="*/ 196 w 216"/>
                  <a:gd name="T31" fmla="*/ 0 h 188"/>
                  <a:gd name="T32" fmla="*/ 216 w 216"/>
                  <a:gd name="T33" fmla="*/ 19 h 188"/>
                  <a:gd name="T34" fmla="*/ 216 w 216"/>
                  <a:gd name="T35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16" h="188">
                    <a:moveTo>
                      <a:pt x="216" y="188"/>
                    </a:moveTo>
                    <a:cubicBezTo>
                      <a:pt x="178" y="188"/>
                      <a:pt x="178" y="188"/>
                      <a:pt x="178" y="188"/>
                    </a:cubicBezTo>
                    <a:cubicBezTo>
                      <a:pt x="178" y="66"/>
                      <a:pt x="178" y="66"/>
                      <a:pt x="178" y="66"/>
                    </a:cubicBezTo>
                    <a:cubicBezTo>
                      <a:pt x="113" y="145"/>
                      <a:pt x="113" y="145"/>
                      <a:pt x="113" y="145"/>
                    </a:cubicBezTo>
                    <a:cubicBezTo>
                      <a:pt x="110" y="148"/>
                      <a:pt x="106" y="148"/>
                      <a:pt x="103" y="145"/>
                    </a:cubicBezTo>
                    <a:cubicBezTo>
                      <a:pt x="38" y="66"/>
                      <a:pt x="38" y="66"/>
                      <a:pt x="38" y="66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8" y="0"/>
                      <a:pt x="32" y="3"/>
                      <a:pt x="38" y="9"/>
                    </a:cubicBezTo>
                    <a:cubicBezTo>
                      <a:pt x="108" y="94"/>
                      <a:pt x="108" y="94"/>
                      <a:pt x="108" y="94"/>
                    </a:cubicBezTo>
                    <a:cubicBezTo>
                      <a:pt x="182" y="6"/>
                      <a:pt x="182" y="6"/>
                      <a:pt x="182" y="6"/>
                    </a:cubicBezTo>
                    <a:cubicBezTo>
                      <a:pt x="185" y="2"/>
                      <a:pt x="190" y="0"/>
                      <a:pt x="196" y="0"/>
                    </a:cubicBezTo>
                    <a:cubicBezTo>
                      <a:pt x="196" y="0"/>
                      <a:pt x="196" y="0"/>
                      <a:pt x="196" y="0"/>
                    </a:cubicBezTo>
                    <a:cubicBezTo>
                      <a:pt x="207" y="0"/>
                      <a:pt x="216" y="8"/>
                      <a:pt x="216" y="19"/>
                    </a:cubicBezTo>
                    <a:lnTo>
                      <a:pt x="216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25" name="Freeform 7"/>
              <p:cNvSpPr>
                <a:spLocks noEditPoints="1"/>
              </p:cNvSpPr>
              <p:nvPr/>
            </p:nvSpPr>
            <p:spPr bwMode="auto">
              <a:xfrm>
                <a:off x="1350862" y="436723"/>
                <a:ext cx="146069" cy="128020"/>
              </a:xfrm>
              <a:custGeom>
                <a:avLst/>
                <a:gdLst>
                  <a:gd name="T0" fmla="*/ 0 w 216"/>
                  <a:gd name="T1" fmla="*/ 189 h 189"/>
                  <a:gd name="T2" fmla="*/ 42 w 216"/>
                  <a:gd name="T3" fmla="*/ 189 h 189"/>
                  <a:gd name="T4" fmla="*/ 66 w 216"/>
                  <a:gd name="T5" fmla="*/ 138 h 189"/>
                  <a:gd name="T6" fmla="*/ 148 w 216"/>
                  <a:gd name="T7" fmla="*/ 138 h 189"/>
                  <a:gd name="T8" fmla="*/ 174 w 216"/>
                  <a:gd name="T9" fmla="*/ 189 h 189"/>
                  <a:gd name="T10" fmla="*/ 216 w 216"/>
                  <a:gd name="T11" fmla="*/ 189 h 189"/>
                  <a:gd name="T12" fmla="*/ 124 w 216"/>
                  <a:gd name="T13" fmla="*/ 9 h 189"/>
                  <a:gd name="T14" fmla="*/ 106 w 216"/>
                  <a:gd name="T15" fmla="*/ 0 h 189"/>
                  <a:gd name="T16" fmla="*/ 106 w 216"/>
                  <a:gd name="T17" fmla="*/ 0 h 189"/>
                  <a:gd name="T18" fmla="*/ 89 w 216"/>
                  <a:gd name="T19" fmla="*/ 9 h 189"/>
                  <a:gd name="T20" fmla="*/ 0 w 216"/>
                  <a:gd name="T21" fmla="*/ 189 h 189"/>
                  <a:gd name="T22" fmla="*/ 106 w 216"/>
                  <a:gd name="T23" fmla="*/ 55 h 189"/>
                  <a:gd name="T24" fmla="*/ 133 w 216"/>
                  <a:gd name="T25" fmla="*/ 108 h 189"/>
                  <a:gd name="T26" fmla="*/ 81 w 216"/>
                  <a:gd name="T27" fmla="*/ 108 h 189"/>
                  <a:gd name="T28" fmla="*/ 106 w 216"/>
                  <a:gd name="T29" fmla="*/ 55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16" h="189">
                    <a:moveTo>
                      <a:pt x="0" y="189"/>
                    </a:moveTo>
                    <a:cubicBezTo>
                      <a:pt x="42" y="189"/>
                      <a:pt x="42" y="189"/>
                      <a:pt x="42" y="189"/>
                    </a:cubicBezTo>
                    <a:cubicBezTo>
                      <a:pt x="66" y="138"/>
                      <a:pt x="66" y="138"/>
                      <a:pt x="66" y="138"/>
                    </a:cubicBezTo>
                    <a:cubicBezTo>
                      <a:pt x="148" y="138"/>
                      <a:pt x="148" y="138"/>
                      <a:pt x="148" y="138"/>
                    </a:cubicBezTo>
                    <a:cubicBezTo>
                      <a:pt x="174" y="189"/>
                      <a:pt x="174" y="189"/>
                      <a:pt x="174" y="189"/>
                    </a:cubicBezTo>
                    <a:cubicBezTo>
                      <a:pt x="216" y="189"/>
                      <a:pt x="216" y="189"/>
                      <a:pt x="216" y="189"/>
                    </a:cubicBezTo>
                    <a:cubicBezTo>
                      <a:pt x="124" y="9"/>
                      <a:pt x="124" y="9"/>
                      <a:pt x="124" y="9"/>
                    </a:cubicBezTo>
                    <a:cubicBezTo>
                      <a:pt x="120" y="3"/>
                      <a:pt x="114" y="0"/>
                      <a:pt x="106" y="0"/>
                    </a:cubicBezTo>
                    <a:cubicBezTo>
                      <a:pt x="106" y="0"/>
                      <a:pt x="106" y="0"/>
                      <a:pt x="106" y="0"/>
                    </a:cubicBezTo>
                    <a:cubicBezTo>
                      <a:pt x="99" y="0"/>
                      <a:pt x="93" y="3"/>
                      <a:pt x="89" y="9"/>
                    </a:cubicBezTo>
                    <a:lnTo>
                      <a:pt x="0" y="189"/>
                    </a:lnTo>
                    <a:close/>
                    <a:moveTo>
                      <a:pt x="106" y="55"/>
                    </a:moveTo>
                    <a:cubicBezTo>
                      <a:pt x="133" y="108"/>
                      <a:pt x="133" y="108"/>
                      <a:pt x="133" y="108"/>
                    </a:cubicBezTo>
                    <a:cubicBezTo>
                      <a:pt x="81" y="108"/>
                      <a:pt x="81" y="108"/>
                      <a:pt x="81" y="108"/>
                    </a:cubicBezTo>
                    <a:lnTo>
                      <a:pt x="106" y="5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26" name="Freeform 8"/>
              <p:cNvSpPr>
                <a:spLocks/>
              </p:cNvSpPr>
              <p:nvPr/>
            </p:nvSpPr>
            <p:spPr bwMode="auto">
              <a:xfrm>
                <a:off x="789211" y="437296"/>
                <a:ext cx="128598" cy="127448"/>
              </a:xfrm>
              <a:custGeom>
                <a:avLst/>
                <a:gdLst>
                  <a:gd name="T0" fmla="*/ 190 w 190"/>
                  <a:gd name="T1" fmla="*/ 188 h 188"/>
                  <a:gd name="T2" fmla="*/ 163 w 190"/>
                  <a:gd name="T3" fmla="*/ 188 h 188"/>
                  <a:gd name="T4" fmla="*/ 38 w 190"/>
                  <a:gd name="T5" fmla="*/ 62 h 188"/>
                  <a:gd name="T6" fmla="*/ 38 w 190"/>
                  <a:gd name="T7" fmla="*/ 188 h 188"/>
                  <a:gd name="T8" fmla="*/ 0 w 190"/>
                  <a:gd name="T9" fmla="*/ 188 h 188"/>
                  <a:gd name="T10" fmla="*/ 0 w 190"/>
                  <a:gd name="T11" fmla="*/ 20 h 188"/>
                  <a:gd name="T12" fmla="*/ 21 w 190"/>
                  <a:gd name="T13" fmla="*/ 0 h 188"/>
                  <a:gd name="T14" fmla="*/ 21 w 190"/>
                  <a:gd name="T15" fmla="*/ 0 h 188"/>
                  <a:gd name="T16" fmla="*/ 36 w 190"/>
                  <a:gd name="T17" fmla="*/ 6 h 188"/>
                  <a:gd name="T18" fmla="*/ 152 w 190"/>
                  <a:gd name="T19" fmla="*/ 123 h 188"/>
                  <a:gd name="T20" fmla="*/ 152 w 190"/>
                  <a:gd name="T21" fmla="*/ 12 h 188"/>
                  <a:gd name="T22" fmla="*/ 165 w 190"/>
                  <a:gd name="T23" fmla="*/ 0 h 188"/>
                  <a:gd name="T24" fmla="*/ 178 w 190"/>
                  <a:gd name="T25" fmla="*/ 0 h 188"/>
                  <a:gd name="T26" fmla="*/ 190 w 190"/>
                  <a:gd name="T27" fmla="*/ 12 h 188"/>
                  <a:gd name="T28" fmla="*/ 190 w 190"/>
                  <a:gd name="T29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0" h="188">
                    <a:moveTo>
                      <a:pt x="190" y="188"/>
                    </a:moveTo>
                    <a:cubicBezTo>
                      <a:pt x="163" y="188"/>
                      <a:pt x="163" y="188"/>
                      <a:pt x="163" y="188"/>
                    </a:cubicBezTo>
                    <a:cubicBezTo>
                      <a:pt x="38" y="62"/>
                      <a:pt x="38" y="62"/>
                      <a:pt x="38" y="62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1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7" y="0"/>
                      <a:pt x="32" y="2"/>
                      <a:pt x="36" y="6"/>
                    </a:cubicBezTo>
                    <a:cubicBezTo>
                      <a:pt x="152" y="123"/>
                      <a:pt x="152" y="123"/>
                      <a:pt x="152" y="123"/>
                    </a:cubicBezTo>
                    <a:cubicBezTo>
                      <a:pt x="152" y="12"/>
                      <a:pt x="152" y="12"/>
                      <a:pt x="152" y="12"/>
                    </a:cubicBezTo>
                    <a:cubicBezTo>
                      <a:pt x="152" y="5"/>
                      <a:pt x="158" y="0"/>
                      <a:pt x="165" y="0"/>
                    </a:cubicBezTo>
                    <a:cubicBezTo>
                      <a:pt x="178" y="0"/>
                      <a:pt x="178" y="0"/>
                      <a:pt x="178" y="0"/>
                    </a:cubicBezTo>
                    <a:cubicBezTo>
                      <a:pt x="185" y="0"/>
                      <a:pt x="190" y="5"/>
                      <a:pt x="190" y="12"/>
                    </a:cubicBezTo>
                    <a:lnTo>
                      <a:pt x="190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27" name="Freeform 9"/>
              <p:cNvSpPr>
                <a:spLocks noEditPoints="1"/>
              </p:cNvSpPr>
              <p:nvPr/>
            </p:nvSpPr>
            <p:spPr bwMode="auto">
              <a:xfrm>
                <a:off x="943586" y="437296"/>
                <a:ext cx="127739" cy="127448"/>
              </a:xfrm>
              <a:custGeom>
                <a:avLst/>
                <a:gdLst>
                  <a:gd name="T0" fmla="*/ 117 w 189"/>
                  <a:gd name="T1" fmla="*/ 4 h 188"/>
                  <a:gd name="T2" fmla="*/ 72 w 189"/>
                  <a:gd name="T3" fmla="*/ 0 h 188"/>
                  <a:gd name="T4" fmla="*/ 19 w 189"/>
                  <a:gd name="T5" fmla="*/ 0 h 188"/>
                  <a:gd name="T6" fmla="*/ 0 w 189"/>
                  <a:gd name="T7" fmla="*/ 18 h 188"/>
                  <a:gd name="T8" fmla="*/ 0 w 189"/>
                  <a:gd name="T9" fmla="*/ 188 h 188"/>
                  <a:gd name="T10" fmla="*/ 62 w 189"/>
                  <a:gd name="T11" fmla="*/ 188 h 188"/>
                  <a:gd name="T12" fmla="*/ 115 w 189"/>
                  <a:gd name="T13" fmla="*/ 182 h 188"/>
                  <a:gd name="T14" fmla="*/ 189 w 189"/>
                  <a:gd name="T15" fmla="*/ 91 h 188"/>
                  <a:gd name="T16" fmla="*/ 117 w 189"/>
                  <a:gd name="T17" fmla="*/ 4 h 188"/>
                  <a:gd name="T18" fmla="*/ 105 w 189"/>
                  <a:gd name="T19" fmla="*/ 148 h 188"/>
                  <a:gd name="T20" fmla="*/ 62 w 189"/>
                  <a:gd name="T21" fmla="*/ 153 h 188"/>
                  <a:gd name="T22" fmla="*/ 62 w 189"/>
                  <a:gd name="T23" fmla="*/ 153 h 188"/>
                  <a:gd name="T24" fmla="*/ 38 w 189"/>
                  <a:gd name="T25" fmla="*/ 153 h 188"/>
                  <a:gd name="T26" fmla="*/ 38 w 189"/>
                  <a:gd name="T27" fmla="*/ 153 h 188"/>
                  <a:gd name="T28" fmla="*/ 38 w 189"/>
                  <a:gd name="T29" fmla="*/ 34 h 188"/>
                  <a:gd name="T30" fmla="*/ 38 w 189"/>
                  <a:gd name="T31" fmla="*/ 34 h 188"/>
                  <a:gd name="T32" fmla="*/ 68 w 189"/>
                  <a:gd name="T33" fmla="*/ 34 h 188"/>
                  <a:gd name="T34" fmla="*/ 68 w 189"/>
                  <a:gd name="T35" fmla="*/ 34 h 188"/>
                  <a:gd name="T36" fmla="*/ 107 w 189"/>
                  <a:gd name="T37" fmla="*/ 38 h 188"/>
                  <a:gd name="T38" fmla="*/ 150 w 189"/>
                  <a:gd name="T39" fmla="*/ 91 h 188"/>
                  <a:gd name="T40" fmla="*/ 105 w 189"/>
                  <a:gd name="T41" fmla="*/ 14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89" h="188">
                    <a:moveTo>
                      <a:pt x="117" y="4"/>
                    </a:moveTo>
                    <a:cubicBezTo>
                      <a:pt x="104" y="1"/>
                      <a:pt x="89" y="0"/>
                      <a:pt x="72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9" y="0"/>
                      <a:pt x="0" y="8"/>
                      <a:pt x="0" y="1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62" y="188"/>
                      <a:pt x="62" y="188"/>
                      <a:pt x="62" y="188"/>
                    </a:cubicBezTo>
                    <a:cubicBezTo>
                      <a:pt x="84" y="188"/>
                      <a:pt x="100" y="186"/>
                      <a:pt x="115" y="182"/>
                    </a:cubicBezTo>
                    <a:cubicBezTo>
                      <a:pt x="163" y="168"/>
                      <a:pt x="189" y="136"/>
                      <a:pt x="189" y="91"/>
                    </a:cubicBezTo>
                    <a:cubicBezTo>
                      <a:pt x="189" y="46"/>
                      <a:pt x="164" y="15"/>
                      <a:pt x="117" y="4"/>
                    </a:cubicBezTo>
                    <a:close/>
                    <a:moveTo>
                      <a:pt x="105" y="148"/>
                    </a:moveTo>
                    <a:cubicBezTo>
                      <a:pt x="94" y="151"/>
                      <a:pt x="79" y="153"/>
                      <a:pt x="62" y="153"/>
                    </a:cubicBezTo>
                    <a:cubicBezTo>
                      <a:pt x="62" y="153"/>
                      <a:pt x="62" y="153"/>
                      <a:pt x="62" y="153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68" y="34"/>
                      <a:pt x="68" y="34"/>
                      <a:pt x="68" y="34"/>
                    </a:cubicBezTo>
                    <a:cubicBezTo>
                      <a:pt x="68" y="34"/>
                      <a:pt x="68" y="34"/>
                      <a:pt x="68" y="34"/>
                    </a:cubicBezTo>
                    <a:cubicBezTo>
                      <a:pt x="86" y="34"/>
                      <a:pt x="97" y="35"/>
                      <a:pt x="107" y="38"/>
                    </a:cubicBezTo>
                    <a:cubicBezTo>
                      <a:pt x="136" y="46"/>
                      <a:pt x="150" y="63"/>
                      <a:pt x="150" y="91"/>
                    </a:cubicBezTo>
                    <a:cubicBezTo>
                      <a:pt x="150" y="120"/>
                      <a:pt x="135" y="139"/>
                      <a:pt x="105" y="14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28" name="Freeform 10"/>
              <p:cNvSpPr>
                <a:spLocks noEditPoints="1"/>
              </p:cNvSpPr>
              <p:nvPr/>
            </p:nvSpPr>
            <p:spPr bwMode="auto">
              <a:xfrm>
                <a:off x="1513256" y="437296"/>
                <a:ext cx="110841" cy="127448"/>
              </a:xfrm>
              <a:custGeom>
                <a:avLst/>
                <a:gdLst>
                  <a:gd name="T0" fmla="*/ 113 w 164"/>
                  <a:gd name="T1" fmla="*/ 113 h 188"/>
                  <a:gd name="T2" fmla="*/ 158 w 164"/>
                  <a:gd name="T3" fmla="*/ 58 h 188"/>
                  <a:gd name="T4" fmla="*/ 82 w 164"/>
                  <a:gd name="T5" fmla="*/ 0 h 188"/>
                  <a:gd name="T6" fmla="*/ 19 w 164"/>
                  <a:gd name="T7" fmla="*/ 0 h 188"/>
                  <a:gd name="T8" fmla="*/ 0 w 164"/>
                  <a:gd name="T9" fmla="*/ 18 h 188"/>
                  <a:gd name="T10" fmla="*/ 0 w 164"/>
                  <a:gd name="T11" fmla="*/ 188 h 188"/>
                  <a:gd name="T12" fmla="*/ 38 w 164"/>
                  <a:gd name="T13" fmla="*/ 188 h 188"/>
                  <a:gd name="T14" fmla="*/ 38 w 164"/>
                  <a:gd name="T15" fmla="*/ 118 h 188"/>
                  <a:gd name="T16" fmla="*/ 72 w 164"/>
                  <a:gd name="T17" fmla="*/ 118 h 188"/>
                  <a:gd name="T18" fmla="*/ 119 w 164"/>
                  <a:gd name="T19" fmla="*/ 188 h 188"/>
                  <a:gd name="T20" fmla="*/ 164 w 164"/>
                  <a:gd name="T21" fmla="*/ 188 h 188"/>
                  <a:gd name="T22" fmla="*/ 113 w 164"/>
                  <a:gd name="T23" fmla="*/ 113 h 188"/>
                  <a:gd name="T24" fmla="*/ 38 w 164"/>
                  <a:gd name="T25" fmla="*/ 83 h 188"/>
                  <a:gd name="T26" fmla="*/ 38 w 164"/>
                  <a:gd name="T27" fmla="*/ 34 h 188"/>
                  <a:gd name="T28" fmla="*/ 85 w 164"/>
                  <a:gd name="T29" fmla="*/ 34 h 188"/>
                  <a:gd name="T30" fmla="*/ 118 w 164"/>
                  <a:gd name="T31" fmla="*/ 59 h 188"/>
                  <a:gd name="T32" fmla="*/ 77 w 164"/>
                  <a:gd name="T33" fmla="*/ 83 h 188"/>
                  <a:gd name="T34" fmla="*/ 38 w 164"/>
                  <a:gd name="T35" fmla="*/ 83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4" h="188">
                    <a:moveTo>
                      <a:pt x="113" y="113"/>
                    </a:moveTo>
                    <a:cubicBezTo>
                      <a:pt x="142" y="105"/>
                      <a:pt x="158" y="86"/>
                      <a:pt x="158" y="58"/>
                    </a:cubicBezTo>
                    <a:cubicBezTo>
                      <a:pt x="158" y="22"/>
                      <a:pt x="129" y="0"/>
                      <a:pt x="82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8" y="0"/>
                      <a:pt x="0" y="8"/>
                      <a:pt x="0" y="1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38" y="118"/>
                      <a:pt x="38" y="118"/>
                      <a:pt x="38" y="118"/>
                    </a:cubicBezTo>
                    <a:cubicBezTo>
                      <a:pt x="72" y="118"/>
                      <a:pt x="72" y="118"/>
                      <a:pt x="72" y="118"/>
                    </a:cubicBezTo>
                    <a:cubicBezTo>
                      <a:pt x="119" y="188"/>
                      <a:pt x="119" y="188"/>
                      <a:pt x="119" y="188"/>
                    </a:cubicBezTo>
                    <a:cubicBezTo>
                      <a:pt x="164" y="188"/>
                      <a:pt x="164" y="188"/>
                      <a:pt x="164" y="188"/>
                    </a:cubicBezTo>
                    <a:lnTo>
                      <a:pt x="113" y="113"/>
                    </a:lnTo>
                    <a:close/>
                    <a:moveTo>
                      <a:pt x="38" y="83"/>
                    </a:moveTo>
                    <a:cubicBezTo>
                      <a:pt x="38" y="34"/>
                      <a:pt x="38" y="34"/>
                      <a:pt x="38" y="34"/>
                    </a:cubicBezTo>
                    <a:cubicBezTo>
                      <a:pt x="85" y="34"/>
                      <a:pt x="85" y="34"/>
                      <a:pt x="85" y="34"/>
                    </a:cubicBezTo>
                    <a:cubicBezTo>
                      <a:pt x="98" y="34"/>
                      <a:pt x="118" y="38"/>
                      <a:pt x="118" y="59"/>
                    </a:cubicBezTo>
                    <a:cubicBezTo>
                      <a:pt x="118" y="69"/>
                      <a:pt x="114" y="83"/>
                      <a:pt x="77" y="83"/>
                    </a:cubicBezTo>
                    <a:lnTo>
                      <a:pt x="38" y="8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29" name="Freeform 11"/>
              <p:cNvSpPr>
                <a:spLocks/>
              </p:cNvSpPr>
              <p:nvPr/>
            </p:nvSpPr>
            <p:spPr bwMode="auto">
              <a:xfrm>
                <a:off x="738516" y="437296"/>
                <a:ext cx="25777" cy="127448"/>
              </a:xfrm>
              <a:custGeom>
                <a:avLst/>
                <a:gdLst>
                  <a:gd name="T0" fmla="*/ 0 w 38"/>
                  <a:gd name="T1" fmla="*/ 188 h 188"/>
                  <a:gd name="T2" fmla="*/ 38 w 38"/>
                  <a:gd name="T3" fmla="*/ 188 h 188"/>
                  <a:gd name="T4" fmla="*/ 38 w 38"/>
                  <a:gd name="T5" fmla="*/ 12 h 188"/>
                  <a:gd name="T6" fmla="*/ 25 w 38"/>
                  <a:gd name="T7" fmla="*/ 0 h 188"/>
                  <a:gd name="T8" fmla="*/ 13 w 38"/>
                  <a:gd name="T9" fmla="*/ 0 h 188"/>
                  <a:gd name="T10" fmla="*/ 0 w 38"/>
                  <a:gd name="T11" fmla="*/ 12 h 188"/>
                  <a:gd name="T12" fmla="*/ 0 w 38"/>
                  <a:gd name="T13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" h="188">
                    <a:moveTo>
                      <a:pt x="0" y="188"/>
                    </a:moveTo>
                    <a:cubicBezTo>
                      <a:pt x="38" y="188"/>
                      <a:pt x="38" y="188"/>
                      <a:pt x="38" y="188"/>
                    </a:cubicBezTo>
                    <a:cubicBezTo>
                      <a:pt x="38" y="12"/>
                      <a:pt x="38" y="12"/>
                      <a:pt x="38" y="12"/>
                    </a:cubicBezTo>
                    <a:cubicBezTo>
                      <a:pt x="38" y="5"/>
                      <a:pt x="32" y="0"/>
                      <a:pt x="25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0" y="5"/>
                      <a:pt x="0" y="12"/>
                    </a:cubicBezTo>
                    <a:lnTo>
                      <a:pt x="0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0" name="Freeform 12"/>
              <p:cNvSpPr>
                <a:spLocks/>
              </p:cNvSpPr>
              <p:nvPr/>
            </p:nvSpPr>
            <p:spPr bwMode="auto">
              <a:xfrm>
                <a:off x="1217394" y="437296"/>
                <a:ext cx="118001" cy="127448"/>
              </a:xfrm>
              <a:custGeom>
                <a:avLst/>
                <a:gdLst>
                  <a:gd name="T0" fmla="*/ 174 w 174"/>
                  <a:gd name="T1" fmla="*/ 188 h 188"/>
                  <a:gd name="T2" fmla="*/ 137 w 174"/>
                  <a:gd name="T3" fmla="*/ 188 h 188"/>
                  <a:gd name="T4" fmla="*/ 137 w 174"/>
                  <a:gd name="T5" fmla="*/ 110 h 188"/>
                  <a:gd name="T6" fmla="*/ 38 w 174"/>
                  <a:gd name="T7" fmla="*/ 110 h 188"/>
                  <a:gd name="T8" fmla="*/ 38 w 174"/>
                  <a:gd name="T9" fmla="*/ 188 h 188"/>
                  <a:gd name="T10" fmla="*/ 0 w 174"/>
                  <a:gd name="T11" fmla="*/ 188 h 188"/>
                  <a:gd name="T12" fmla="*/ 0 w 174"/>
                  <a:gd name="T13" fmla="*/ 12 h 188"/>
                  <a:gd name="T14" fmla="*/ 13 w 174"/>
                  <a:gd name="T15" fmla="*/ 0 h 188"/>
                  <a:gd name="T16" fmla="*/ 25 w 174"/>
                  <a:gd name="T17" fmla="*/ 0 h 188"/>
                  <a:gd name="T18" fmla="*/ 38 w 174"/>
                  <a:gd name="T19" fmla="*/ 12 h 188"/>
                  <a:gd name="T20" fmla="*/ 38 w 174"/>
                  <a:gd name="T21" fmla="*/ 75 h 188"/>
                  <a:gd name="T22" fmla="*/ 137 w 174"/>
                  <a:gd name="T23" fmla="*/ 75 h 188"/>
                  <a:gd name="T24" fmla="*/ 137 w 174"/>
                  <a:gd name="T25" fmla="*/ 12 h 188"/>
                  <a:gd name="T26" fmla="*/ 149 w 174"/>
                  <a:gd name="T27" fmla="*/ 0 h 188"/>
                  <a:gd name="T28" fmla="*/ 162 w 174"/>
                  <a:gd name="T29" fmla="*/ 0 h 188"/>
                  <a:gd name="T30" fmla="*/ 174 w 174"/>
                  <a:gd name="T31" fmla="*/ 12 h 188"/>
                  <a:gd name="T32" fmla="*/ 174 w 174"/>
                  <a:gd name="T33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4" h="188">
                    <a:moveTo>
                      <a:pt x="174" y="188"/>
                    </a:moveTo>
                    <a:cubicBezTo>
                      <a:pt x="137" y="188"/>
                      <a:pt x="137" y="188"/>
                      <a:pt x="137" y="188"/>
                    </a:cubicBezTo>
                    <a:cubicBezTo>
                      <a:pt x="137" y="110"/>
                      <a:pt x="137" y="110"/>
                      <a:pt x="137" y="110"/>
                    </a:cubicBezTo>
                    <a:cubicBezTo>
                      <a:pt x="38" y="110"/>
                      <a:pt x="38" y="110"/>
                      <a:pt x="38" y="110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6" y="0"/>
                      <a:pt x="13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32" y="0"/>
                      <a:pt x="38" y="5"/>
                      <a:pt x="38" y="12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137" y="75"/>
                      <a:pt x="137" y="75"/>
                      <a:pt x="137" y="75"/>
                    </a:cubicBezTo>
                    <a:cubicBezTo>
                      <a:pt x="137" y="12"/>
                      <a:pt x="137" y="12"/>
                      <a:pt x="137" y="12"/>
                    </a:cubicBezTo>
                    <a:cubicBezTo>
                      <a:pt x="137" y="5"/>
                      <a:pt x="142" y="0"/>
                      <a:pt x="149" y="0"/>
                    </a:cubicBezTo>
                    <a:cubicBezTo>
                      <a:pt x="162" y="0"/>
                      <a:pt x="162" y="0"/>
                      <a:pt x="162" y="0"/>
                    </a:cubicBezTo>
                    <a:cubicBezTo>
                      <a:pt x="169" y="0"/>
                      <a:pt x="174" y="5"/>
                      <a:pt x="174" y="12"/>
                    </a:cubicBezTo>
                    <a:lnTo>
                      <a:pt x="174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1" name="Freeform 13"/>
              <p:cNvSpPr>
                <a:spLocks/>
              </p:cNvSpPr>
              <p:nvPr/>
            </p:nvSpPr>
            <p:spPr bwMode="auto">
              <a:xfrm>
                <a:off x="1085646" y="435864"/>
                <a:ext cx="108836" cy="130025"/>
              </a:xfrm>
              <a:custGeom>
                <a:avLst/>
                <a:gdLst>
                  <a:gd name="T0" fmla="*/ 90 w 161"/>
                  <a:gd name="T1" fmla="*/ 78 h 192"/>
                  <a:gd name="T2" fmla="*/ 46 w 161"/>
                  <a:gd name="T3" fmla="*/ 56 h 192"/>
                  <a:gd name="T4" fmla="*/ 83 w 161"/>
                  <a:gd name="T5" fmla="*/ 36 h 192"/>
                  <a:gd name="T6" fmla="*/ 139 w 161"/>
                  <a:gd name="T7" fmla="*/ 49 h 192"/>
                  <a:gd name="T8" fmla="*/ 140 w 161"/>
                  <a:gd name="T9" fmla="*/ 49 h 192"/>
                  <a:gd name="T10" fmla="*/ 145 w 161"/>
                  <a:gd name="T11" fmla="*/ 47 h 192"/>
                  <a:gd name="T12" fmla="*/ 156 w 161"/>
                  <a:gd name="T13" fmla="*/ 25 h 192"/>
                  <a:gd name="T14" fmla="*/ 156 w 161"/>
                  <a:gd name="T15" fmla="*/ 23 h 192"/>
                  <a:gd name="T16" fmla="*/ 153 w 161"/>
                  <a:gd name="T17" fmla="*/ 18 h 192"/>
                  <a:gd name="T18" fmla="*/ 152 w 161"/>
                  <a:gd name="T19" fmla="*/ 17 h 192"/>
                  <a:gd name="T20" fmla="*/ 81 w 161"/>
                  <a:gd name="T21" fmla="*/ 0 h 192"/>
                  <a:gd name="T22" fmla="*/ 7 w 161"/>
                  <a:gd name="T23" fmla="*/ 57 h 192"/>
                  <a:gd name="T24" fmla="*/ 25 w 161"/>
                  <a:gd name="T25" fmla="*/ 96 h 192"/>
                  <a:gd name="T26" fmla="*/ 80 w 161"/>
                  <a:gd name="T27" fmla="*/ 113 h 192"/>
                  <a:gd name="T28" fmla="*/ 122 w 161"/>
                  <a:gd name="T29" fmla="*/ 133 h 192"/>
                  <a:gd name="T30" fmla="*/ 78 w 161"/>
                  <a:gd name="T31" fmla="*/ 157 h 192"/>
                  <a:gd name="T32" fmla="*/ 22 w 161"/>
                  <a:gd name="T33" fmla="*/ 142 h 192"/>
                  <a:gd name="T34" fmla="*/ 18 w 161"/>
                  <a:gd name="T35" fmla="*/ 139 h 192"/>
                  <a:gd name="T36" fmla="*/ 15 w 161"/>
                  <a:gd name="T37" fmla="*/ 143 h 192"/>
                  <a:gd name="T38" fmla="*/ 2 w 161"/>
                  <a:gd name="T39" fmla="*/ 166 h 192"/>
                  <a:gd name="T40" fmla="*/ 0 w 161"/>
                  <a:gd name="T41" fmla="*/ 170 h 192"/>
                  <a:gd name="T42" fmla="*/ 4 w 161"/>
                  <a:gd name="T43" fmla="*/ 172 h 192"/>
                  <a:gd name="T44" fmla="*/ 77 w 161"/>
                  <a:gd name="T45" fmla="*/ 192 h 192"/>
                  <a:gd name="T46" fmla="*/ 161 w 161"/>
                  <a:gd name="T47" fmla="*/ 132 h 192"/>
                  <a:gd name="T48" fmla="*/ 90 w 161"/>
                  <a:gd name="T49" fmla="*/ 78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61" h="192">
                    <a:moveTo>
                      <a:pt x="90" y="78"/>
                    </a:moveTo>
                    <a:cubicBezTo>
                      <a:pt x="63" y="74"/>
                      <a:pt x="46" y="71"/>
                      <a:pt x="46" y="56"/>
                    </a:cubicBezTo>
                    <a:cubicBezTo>
                      <a:pt x="46" y="43"/>
                      <a:pt x="60" y="36"/>
                      <a:pt x="83" y="36"/>
                    </a:cubicBezTo>
                    <a:cubicBezTo>
                      <a:pt x="109" y="36"/>
                      <a:pt x="130" y="45"/>
                      <a:pt x="139" y="49"/>
                    </a:cubicBezTo>
                    <a:cubicBezTo>
                      <a:pt x="139" y="49"/>
                      <a:pt x="139" y="49"/>
                      <a:pt x="140" y="49"/>
                    </a:cubicBezTo>
                    <a:cubicBezTo>
                      <a:pt x="142" y="49"/>
                      <a:pt x="144" y="49"/>
                      <a:pt x="145" y="47"/>
                    </a:cubicBezTo>
                    <a:cubicBezTo>
                      <a:pt x="156" y="25"/>
                      <a:pt x="156" y="25"/>
                      <a:pt x="156" y="25"/>
                    </a:cubicBezTo>
                    <a:cubicBezTo>
                      <a:pt x="156" y="24"/>
                      <a:pt x="156" y="23"/>
                      <a:pt x="156" y="23"/>
                    </a:cubicBezTo>
                    <a:cubicBezTo>
                      <a:pt x="156" y="21"/>
                      <a:pt x="155" y="19"/>
                      <a:pt x="153" y="18"/>
                    </a:cubicBezTo>
                    <a:cubicBezTo>
                      <a:pt x="152" y="17"/>
                      <a:pt x="152" y="17"/>
                      <a:pt x="152" y="17"/>
                    </a:cubicBezTo>
                    <a:cubicBezTo>
                      <a:pt x="133" y="7"/>
                      <a:pt x="106" y="0"/>
                      <a:pt x="81" y="0"/>
                    </a:cubicBezTo>
                    <a:cubicBezTo>
                      <a:pt x="35" y="0"/>
                      <a:pt x="7" y="22"/>
                      <a:pt x="7" y="57"/>
                    </a:cubicBezTo>
                    <a:cubicBezTo>
                      <a:pt x="7" y="75"/>
                      <a:pt x="13" y="87"/>
                      <a:pt x="25" y="96"/>
                    </a:cubicBezTo>
                    <a:cubicBezTo>
                      <a:pt x="40" y="107"/>
                      <a:pt x="61" y="110"/>
                      <a:pt x="80" y="113"/>
                    </a:cubicBezTo>
                    <a:cubicBezTo>
                      <a:pt x="106" y="117"/>
                      <a:pt x="122" y="119"/>
                      <a:pt x="122" y="133"/>
                    </a:cubicBezTo>
                    <a:cubicBezTo>
                      <a:pt x="122" y="155"/>
                      <a:pt x="91" y="157"/>
                      <a:pt x="78" y="157"/>
                    </a:cubicBezTo>
                    <a:cubicBezTo>
                      <a:pt x="57" y="157"/>
                      <a:pt x="38" y="152"/>
                      <a:pt x="22" y="142"/>
                    </a:cubicBezTo>
                    <a:cubicBezTo>
                      <a:pt x="18" y="139"/>
                      <a:pt x="18" y="139"/>
                      <a:pt x="18" y="139"/>
                    </a:cubicBezTo>
                    <a:cubicBezTo>
                      <a:pt x="15" y="143"/>
                      <a:pt x="15" y="143"/>
                      <a:pt x="15" y="143"/>
                    </a:cubicBezTo>
                    <a:cubicBezTo>
                      <a:pt x="2" y="166"/>
                      <a:pt x="2" y="166"/>
                      <a:pt x="2" y="166"/>
                    </a:cubicBezTo>
                    <a:cubicBezTo>
                      <a:pt x="0" y="170"/>
                      <a:pt x="0" y="170"/>
                      <a:pt x="0" y="170"/>
                    </a:cubicBezTo>
                    <a:cubicBezTo>
                      <a:pt x="4" y="172"/>
                      <a:pt x="4" y="172"/>
                      <a:pt x="4" y="172"/>
                    </a:cubicBezTo>
                    <a:cubicBezTo>
                      <a:pt x="18" y="181"/>
                      <a:pt x="42" y="192"/>
                      <a:pt x="77" y="192"/>
                    </a:cubicBezTo>
                    <a:cubicBezTo>
                      <a:pt x="128" y="192"/>
                      <a:pt x="161" y="169"/>
                      <a:pt x="161" y="132"/>
                    </a:cubicBezTo>
                    <a:cubicBezTo>
                      <a:pt x="161" y="88"/>
                      <a:pt x="122" y="82"/>
                      <a:pt x="90" y="7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  <p:sp>
            <p:nvSpPr>
              <p:cNvPr id="32" name="Freeform 14"/>
              <p:cNvSpPr>
                <a:spLocks/>
              </p:cNvSpPr>
              <p:nvPr/>
            </p:nvSpPr>
            <p:spPr bwMode="auto">
              <a:xfrm>
                <a:off x="1642427" y="437296"/>
                <a:ext cx="93943" cy="127448"/>
              </a:xfrm>
              <a:custGeom>
                <a:avLst/>
                <a:gdLst>
                  <a:gd name="T0" fmla="*/ 128 w 139"/>
                  <a:gd name="T1" fmla="*/ 103 h 188"/>
                  <a:gd name="T2" fmla="*/ 121 w 139"/>
                  <a:gd name="T3" fmla="*/ 110 h 188"/>
                  <a:gd name="T4" fmla="*/ 38 w 139"/>
                  <a:gd name="T5" fmla="*/ 110 h 188"/>
                  <a:gd name="T6" fmla="*/ 38 w 139"/>
                  <a:gd name="T7" fmla="*/ 153 h 188"/>
                  <a:gd name="T8" fmla="*/ 139 w 139"/>
                  <a:gd name="T9" fmla="*/ 153 h 188"/>
                  <a:gd name="T10" fmla="*/ 139 w 139"/>
                  <a:gd name="T11" fmla="*/ 188 h 188"/>
                  <a:gd name="T12" fmla="*/ 0 w 139"/>
                  <a:gd name="T13" fmla="*/ 188 h 188"/>
                  <a:gd name="T14" fmla="*/ 0 w 139"/>
                  <a:gd name="T15" fmla="*/ 18 h 188"/>
                  <a:gd name="T16" fmla="*/ 19 w 139"/>
                  <a:gd name="T17" fmla="*/ 0 h 188"/>
                  <a:gd name="T18" fmla="*/ 130 w 139"/>
                  <a:gd name="T19" fmla="*/ 0 h 188"/>
                  <a:gd name="T20" fmla="*/ 137 w 139"/>
                  <a:gd name="T21" fmla="*/ 6 h 188"/>
                  <a:gd name="T22" fmla="*/ 137 w 139"/>
                  <a:gd name="T23" fmla="*/ 27 h 188"/>
                  <a:gd name="T24" fmla="*/ 130 w 139"/>
                  <a:gd name="T25" fmla="*/ 34 h 188"/>
                  <a:gd name="T26" fmla="*/ 38 w 139"/>
                  <a:gd name="T27" fmla="*/ 34 h 188"/>
                  <a:gd name="T28" fmla="*/ 38 w 139"/>
                  <a:gd name="T29" fmla="*/ 75 h 188"/>
                  <a:gd name="T30" fmla="*/ 121 w 139"/>
                  <a:gd name="T31" fmla="*/ 75 h 188"/>
                  <a:gd name="T32" fmla="*/ 128 w 139"/>
                  <a:gd name="T33" fmla="*/ 82 h 188"/>
                  <a:gd name="T34" fmla="*/ 128 w 139"/>
                  <a:gd name="T35" fmla="*/ 103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9" h="188">
                    <a:moveTo>
                      <a:pt x="128" y="103"/>
                    </a:moveTo>
                    <a:cubicBezTo>
                      <a:pt x="128" y="107"/>
                      <a:pt x="124" y="110"/>
                      <a:pt x="121" y="110"/>
                    </a:cubicBezTo>
                    <a:cubicBezTo>
                      <a:pt x="38" y="110"/>
                      <a:pt x="38" y="110"/>
                      <a:pt x="38" y="110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139" y="153"/>
                      <a:pt x="139" y="153"/>
                      <a:pt x="139" y="153"/>
                    </a:cubicBezTo>
                    <a:cubicBezTo>
                      <a:pt x="139" y="188"/>
                      <a:pt x="139" y="188"/>
                      <a:pt x="139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9" y="0"/>
                      <a:pt x="19" y="0"/>
                    </a:cubicBezTo>
                    <a:cubicBezTo>
                      <a:pt x="130" y="0"/>
                      <a:pt x="130" y="0"/>
                      <a:pt x="130" y="0"/>
                    </a:cubicBezTo>
                    <a:cubicBezTo>
                      <a:pt x="134" y="0"/>
                      <a:pt x="137" y="2"/>
                      <a:pt x="137" y="6"/>
                    </a:cubicBezTo>
                    <a:cubicBezTo>
                      <a:pt x="137" y="27"/>
                      <a:pt x="137" y="27"/>
                      <a:pt x="137" y="27"/>
                    </a:cubicBezTo>
                    <a:cubicBezTo>
                      <a:pt x="137" y="32"/>
                      <a:pt x="134" y="34"/>
                      <a:pt x="130" y="34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121" y="75"/>
                      <a:pt x="121" y="75"/>
                      <a:pt x="121" y="75"/>
                    </a:cubicBezTo>
                    <a:cubicBezTo>
                      <a:pt x="124" y="75"/>
                      <a:pt x="128" y="77"/>
                      <a:pt x="128" y="82"/>
                    </a:cubicBezTo>
                    <a:lnTo>
                      <a:pt x="128" y="10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310"/>
                <a:endParaRPr lang="en-GB">
                  <a:solidFill>
                    <a:srgbClr val="2D0C4B"/>
                  </a:solidFill>
                  <a:latin typeface="Arial"/>
                  <a:sym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277065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slideLayout" Target="../slideLayouts/slideLayout49.xml"/><Relationship Id="rId39" Type="http://schemas.openxmlformats.org/officeDocument/2006/relationships/slideLayout" Target="../slideLayouts/slideLayout62.xml"/><Relationship Id="rId21" Type="http://schemas.openxmlformats.org/officeDocument/2006/relationships/slideLayout" Target="../slideLayouts/slideLayout44.xml"/><Relationship Id="rId34" Type="http://schemas.openxmlformats.org/officeDocument/2006/relationships/slideLayout" Target="../slideLayouts/slideLayout57.xml"/><Relationship Id="rId42" Type="http://schemas.openxmlformats.org/officeDocument/2006/relationships/slideLayout" Target="../slideLayouts/slideLayout65.xml"/><Relationship Id="rId47" Type="http://schemas.openxmlformats.org/officeDocument/2006/relationships/slideLayout" Target="../slideLayouts/slideLayout70.xml"/><Relationship Id="rId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9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34.xml"/><Relationship Id="rId24" Type="http://schemas.openxmlformats.org/officeDocument/2006/relationships/slideLayout" Target="../slideLayouts/slideLayout47.xml"/><Relationship Id="rId32" Type="http://schemas.openxmlformats.org/officeDocument/2006/relationships/slideLayout" Target="../slideLayouts/slideLayout55.xml"/><Relationship Id="rId37" Type="http://schemas.openxmlformats.org/officeDocument/2006/relationships/slideLayout" Target="../slideLayouts/slideLayout60.xml"/><Relationship Id="rId40" Type="http://schemas.openxmlformats.org/officeDocument/2006/relationships/slideLayout" Target="../slideLayouts/slideLayout63.xml"/><Relationship Id="rId45" Type="http://schemas.openxmlformats.org/officeDocument/2006/relationships/slideLayout" Target="../slideLayouts/slideLayout68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46.xml"/><Relationship Id="rId28" Type="http://schemas.openxmlformats.org/officeDocument/2006/relationships/slideLayout" Target="../slideLayouts/slideLayout51.xml"/><Relationship Id="rId36" Type="http://schemas.openxmlformats.org/officeDocument/2006/relationships/slideLayout" Target="../slideLayouts/slideLayout59.xml"/><Relationship Id="rId49" Type="http://schemas.openxmlformats.org/officeDocument/2006/relationships/theme" Target="../theme/theme2.xml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31" Type="http://schemas.openxmlformats.org/officeDocument/2006/relationships/slideLayout" Target="../slideLayouts/slideLayout54.xml"/><Relationship Id="rId44" Type="http://schemas.openxmlformats.org/officeDocument/2006/relationships/slideLayout" Target="../slideLayouts/slideLayout67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slideLayout" Target="../slideLayouts/slideLayout50.xml"/><Relationship Id="rId30" Type="http://schemas.openxmlformats.org/officeDocument/2006/relationships/slideLayout" Target="../slideLayouts/slideLayout53.xml"/><Relationship Id="rId35" Type="http://schemas.openxmlformats.org/officeDocument/2006/relationships/slideLayout" Target="../slideLayouts/slideLayout58.xml"/><Relationship Id="rId43" Type="http://schemas.openxmlformats.org/officeDocument/2006/relationships/slideLayout" Target="../slideLayouts/slideLayout66.xml"/><Relationship Id="rId48" Type="http://schemas.openxmlformats.org/officeDocument/2006/relationships/slideLayout" Target="../slideLayouts/slideLayout71.xml"/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slideLayout" Target="../slideLayouts/slideLayout48.xml"/><Relationship Id="rId33" Type="http://schemas.openxmlformats.org/officeDocument/2006/relationships/slideLayout" Target="../slideLayouts/slideLayout56.xml"/><Relationship Id="rId38" Type="http://schemas.openxmlformats.org/officeDocument/2006/relationships/slideLayout" Target="../slideLayouts/slideLayout61.xml"/><Relationship Id="rId46" Type="http://schemas.openxmlformats.org/officeDocument/2006/relationships/slideLayout" Target="../slideLayouts/slideLayout69.xml"/><Relationship Id="rId20" Type="http://schemas.openxmlformats.org/officeDocument/2006/relationships/slideLayout" Target="../slideLayouts/slideLayout43.xml"/><Relationship Id="rId41" Type="http://schemas.openxmlformats.org/officeDocument/2006/relationships/slideLayout" Target="../slideLayouts/slideLayout64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slideLayout" Target="../slideLayouts/slideLayout84.xml"/><Relationship Id="rId18" Type="http://schemas.openxmlformats.org/officeDocument/2006/relationships/slideLayout" Target="../slideLayouts/slideLayout89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74.xml"/><Relationship Id="rId21" Type="http://schemas.openxmlformats.org/officeDocument/2006/relationships/slideLayout" Target="../slideLayouts/slideLayout92.xml"/><Relationship Id="rId7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3.xml"/><Relationship Id="rId17" Type="http://schemas.openxmlformats.org/officeDocument/2006/relationships/slideLayout" Target="../slideLayouts/slideLayout88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73.xml"/><Relationship Id="rId16" Type="http://schemas.openxmlformats.org/officeDocument/2006/relationships/slideLayout" Target="../slideLayouts/slideLayout87.xml"/><Relationship Id="rId20" Type="http://schemas.openxmlformats.org/officeDocument/2006/relationships/slideLayout" Target="../slideLayouts/slideLayout91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24" Type="http://schemas.openxmlformats.org/officeDocument/2006/relationships/vmlDrawing" Target="../drawings/vmlDrawing2.vml"/><Relationship Id="rId5" Type="http://schemas.openxmlformats.org/officeDocument/2006/relationships/slideLayout" Target="../slideLayouts/slideLayout76.xml"/><Relationship Id="rId15" Type="http://schemas.openxmlformats.org/officeDocument/2006/relationships/slideLayout" Target="../slideLayouts/slideLayout86.xml"/><Relationship Id="rId23" Type="http://schemas.openxmlformats.org/officeDocument/2006/relationships/theme" Target="../theme/theme3.xml"/><Relationship Id="rId10" Type="http://schemas.openxmlformats.org/officeDocument/2006/relationships/slideLayout" Target="../slideLayouts/slideLayout81.xml"/><Relationship Id="rId19" Type="http://schemas.openxmlformats.org/officeDocument/2006/relationships/slideLayout" Target="../slideLayouts/slideLayout90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slideLayout" Target="../slideLayouts/slideLayout85.xml"/><Relationship Id="rId22" Type="http://schemas.openxmlformats.org/officeDocument/2006/relationships/slideLayout" Target="../slideLayouts/slideLayout93.xml"/><Relationship Id="rId27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13" Type="http://schemas.openxmlformats.org/officeDocument/2006/relationships/slideLayout" Target="../slideLayouts/slideLayout106.xml"/><Relationship Id="rId18" Type="http://schemas.openxmlformats.org/officeDocument/2006/relationships/slideLayout" Target="../slideLayouts/slideLayout111.xml"/><Relationship Id="rId26" Type="http://schemas.openxmlformats.org/officeDocument/2006/relationships/oleObject" Target="../embeddings/oleObject2.bin"/><Relationship Id="rId3" Type="http://schemas.openxmlformats.org/officeDocument/2006/relationships/slideLayout" Target="../slideLayouts/slideLayout96.xml"/><Relationship Id="rId21" Type="http://schemas.openxmlformats.org/officeDocument/2006/relationships/slideLayout" Target="../slideLayouts/slideLayout114.xml"/><Relationship Id="rId7" Type="http://schemas.openxmlformats.org/officeDocument/2006/relationships/slideLayout" Target="../slideLayouts/slideLayout100.xml"/><Relationship Id="rId12" Type="http://schemas.openxmlformats.org/officeDocument/2006/relationships/slideLayout" Target="../slideLayouts/slideLayout105.xml"/><Relationship Id="rId17" Type="http://schemas.openxmlformats.org/officeDocument/2006/relationships/slideLayout" Target="../slideLayouts/slideLayout110.xml"/><Relationship Id="rId25" Type="http://schemas.openxmlformats.org/officeDocument/2006/relationships/tags" Target="../tags/tag4.xml"/><Relationship Id="rId2" Type="http://schemas.openxmlformats.org/officeDocument/2006/relationships/slideLayout" Target="../slideLayouts/slideLayout95.xml"/><Relationship Id="rId16" Type="http://schemas.openxmlformats.org/officeDocument/2006/relationships/slideLayout" Target="../slideLayouts/slideLayout109.xml"/><Relationship Id="rId20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24" Type="http://schemas.openxmlformats.org/officeDocument/2006/relationships/vmlDrawing" Target="../drawings/vmlDrawing3.vml"/><Relationship Id="rId5" Type="http://schemas.openxmlformats.org/officeDocument/2006/relationships/slideLayout" Target="../slideLayouts/slideLayout98.xml"/><Relationship Id="rId15" Type="http://schemas.openxmlformats.org/officeDocument/2006/relationships/slideLayout" Target="../slideLayouts/slideLayout108.xml"/><Relationship Id="rId23" Type="http://schemas.openxmlformats.org/officeDocument/2006/relationships/theme" Target="../theme/theme4.xml"/><Relationship Id="rId10" Type="http://schemas.openxmlformats.org/officeDocument/2006/relationships/slideLayout" Target="../slideLayouts/slideLayout103.xml"/><Relationship Id="rId19" Type="http://schemas.openxmlformats.org/officeDocument/2006/relationships/slideLayout" Target="../slideLayouts/slideLayout112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Relationship Id="rId14" Type="http://schemas.openxmlformats.org/officeDocument/2006/relationships/slideLayout" Target="../slideLayouts/slideLayout107.xml"/><Relationship Id="rId22" Type="http://schemas.openxmlformats.org/officeDocument/2006/relationships/slideLayout" Target="../slideLayouts/slideLayout115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5954695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8"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9999" y="519113"/>
            <a:ext cx="8425225" cy="70872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9999" y="1223963"/>
            <a:ext cx="8425225" cy="3562350"/>
          </a:xfrm>
          <a:prstGeom prst="rect">
            <a:avLst/>
          </a:prstGeom>
        </p:spPr>
        <p:txBody>
          <a:bodyPr vert="horz" lIns="0" tIns="0" rIns="0" bIns="0" spcCol="28800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58775" y="356107"/>
            <a:ext cx="1960563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/>
          <p:cNvSpPr>
            <a:spLocks noChangeAspect="1"/>
          </p:cNvSpPr>
          <p:nvPr userDrawn="1"/>
        </p:nvSpPr>
        <p:spPr>
          <a:xfrm>
            <a:off x="4716016" y="3147814"/>
            <a:ext cx="0" cy="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62879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6" r:id="rId1"/>
    <p:sldLayoutId id="2147484292" r:id="rId2"/>
    <p:sldLayoutId id="2147484277" r:id="rId3"/>
    <p:sldLayoutId id="2147484278" r:id="rId4"/>
    <p:sldLayoutId id="2147484297" r:id="rId5"/>
    <p:sldLayoutId id="2147484294" r:id="rId6"/>
    <p:sldLayoutId id="2147484299" r:id="rId7"/>
    <p:sldLayoutId id="2147484295" r:id="rId8"/>
    <p:sldLayoutId id="2147484279" r:id="rId9"/>
    <p:sldLayoutId id="2147484281" r:id="rId10"/>
    <p:sldLayoutId id="2147484282" r:id="rId11"/>
    <p:sldLayoutId id="2147484283" r:id="rId12"/>
    <p:sldLayoutId id="2147484284" r:id="rId13"/>
    <p:sldLayoutId id="2147484298" r:id="rId14"/>
    <p:sldLayoutId id="2147484289" r:id="rId15"/>
    <p:sldLayoutId id="2147484280" r:id="rId16"/>
    <p:sldLayoutId id="2147484285" r:id="rId17"/>
    <p:sldLayoutId id="2147484290" r:id="rId18"/>
    <p:sldLayoutId id="2147484275" r:id="rId19"/>
    <p:sldLayoutId id="2147484301" r:id="rId20"/>
    <p:sldLayoutId id="2147484302" r:id="rId21"/>
    <p:sldLayoutId id="2147484353" r:id="rId22"/>
    <p:sldLayoutId id="2147484379" r:id="rId23"/>
  </p:sldLayoutIdLst>
  <p:hf sldNum="0" hdr="0" ftr="0" dt="0"/>
  <p:txStyles>
    <p:titleStyle>
      <a:lvl1pPr algn="l" defTabSz="914411" rtl="0" eaLnBrk="1" latinLnBrk="0" hangingPunct="1">
        <a:lnSpc>
          <a:spcPct val="100000"/>
        </a:lnSpc>
        <a:spcBef>
          <a:spcPts val="300"/>
        </a:spcBef>
        <a:buNone/>
        <a:defRPr sz="1600" b="1" kern="1200" cap="none" spc="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-133202" algn="l" defTabSz="914411" rtl="0" eaLnBrk="1" latinLnBrk="0" hangingPunct="1">
        <a:lnSpc>
          <a:spcPct val="100000"/>
        </a:lnSpc>
        <a:spcBef>
          <a:spcPts val="1200"/>
        </a:spcBef>
        <a:buFont typeface="Arial" pitchFamily="34" charset="0"/>
        <a:buNone/>
        <a:defRPr sz="12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625483" rtl="0" eaLnBrk="1" latinLnBrk="0" hangingPunct="1">
        <a:lnSpc>
          <a:spcPct val="100000"/>
        </a:lnSpc>
        <a:spcBef>
          <a:spcPts val="300"/>
        </a:spcBef>
        <a:buClr>
          <a:schemeClr val="tx1"/>
        </a:buClr>
        <a:buFontTx/>
        <a:buNone/>
        <a:defRPr sz="12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160338" indent="-160338" algn="l" defTabSz="914411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Font typeface="Arial" pitchFamily="34" charset="0"/>
        <a:buChar char="•"/>
        <a:defRPr sz="1200" b="0" kern="1200">
          <a:solidFill>
            <a:schemeClr val="tx2"/>
          </a:solidFill>
          <a:latin typeface="+mn-lt"/>
          <a:ea typeface="+mn-ea"/>
          <a:cs typeface="+mn-cs"/>
        </a:defRPr>
      </a:lvl3pPr>
      <a:lvl4pPr marL="314325" indent="-153988" algn="l" defTabSz="914411" rtl="0" eaLnBrk="1" latinLnBrk="0" hangingPunct="1">
        <a:lnSpc>
          <a:spcPct val="100000"/>
        </a:lnSpc>
        <a:spcBef>
          <a:spcPts val="300"/>
        </a:spcBef>
        <a:buFont typeface="Century Gothic" pitchFamily="34" charset="0"/>
        <a:buChar char="−"/>
        <a:defRPr sz="1200" b="0" kern="1200">
          <a:solidFill>
            <a:schemeClr val="tx2"/>
          </a:solidFill>
          <a:latin typeface="+mn-lt"/>
          <a:ea typeface="+mn-ea"/>
          <a:cs typeface="+mn-cs"/>
        </a:defRPr>
      </a:lvl4pPr>
      <a:lvl5pPr marL="515938" indent="-195263" algn="l" defTabSz="914411" rtl="0" eaLnBrk="1" latinLnBrk="0" hangingPunct="1">
        <a:lnSpc>
          <a:spcPct val="100000"/>
        </a:lnSpc>
        <a:spcBef>
          <a:spcPts val="300"/>
        </a:spcBef>
        <a:buFont typeface="Century Gothic" pitchFamily="34" charset="0"/>
        <a:buChar char="−"/>
        <a:defRPr sz="1200" b="0" kern="1200" cap="none" baseline="0">
          <a:solidFill>
            <a:schemeClr val="tx2"/>
          </a:solidFill>
          <a:latin typeface="+mn-lt"/>
          <a:ea typeface="+mn-ea"/>
          <a:cs typeface="+mn-cs"/>
        </a:defRPr>
      </a:lvl5pPr>
      <a:lvl6pPr marL="1983625" indent="-133202" algn="l" defTabSz="914411" rtl="0" eaLnBrk="1" latinLnBrk="0" hangingPunct="1">
        <a:lnSpc>
          <a:spcPct val="100000"/>
        </a:lnSpc>
        <a:spcBef>
          <a:spcPts val="6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983625" indent="-133202" algn="l" defTabSz="914411" rtl="0" eaLnBrk="1" latinLnBrk="0" hangingPunct="1">
        <a:lnSpc>
          <a:spcPct val="100000"/>
        </a:lnSpc>
        <a:spcBef>
          <a:spcPts val="600"/>
        </a:spcBef>
        <a:buFont typeface="Arial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983625" indent="-133202" algn="l" defTabSz="914411" rtl="0" eaLnBrk="1" latinLnBrk="0" hangingPunct="1">
        <a:lnSpc>
          <a:spcPct val="100000"/>
        </a:lnSpc>
        <a:spcBef>
          <a:spcPts val="600"/>
        </a:spcBef>
        <a:buFont typeface="Arial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983625" indent="-133202" algn="l" defTabSz="914411" rtl="0" eaLnBrk="1" latinLnBrk="0" hangingPunct="1">
        <a:lnSpc>
          <a:spcPct val="100000"/>
        </a:lnSpc>
        <a:spcBef>
          <a:spcPts val="600"/>
        </a:spcBef>
        <a:buFont typeface="Arial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GB"/>
      </a:defPPr>
      <a:lvl1pPr marL="0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6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1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7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3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9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34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40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46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26" userDrawn="1">
          <p15:clr>
            <a:srgbClr val="F26B43"/>
          </p15:clr>
        </p15:guide>
        <p15:guide id="2" pos="5534" userDrawn="1">
          <p15:clr>
            <a:srgbClr val="F26B43"/>
          </p15:clr>
        </p15:guide>
        <p15:guide id="5" orient="horz" pos="214" userDrawn="1">
          <p15:clr>
            <a:srgbClr val="F26B43"/>
          </p15:clr>
        </p15:guide>
        <p15:guide id="11" orient="horz" pos="771" userDrawn="1">
          <p15:clr>
            <a:srgbClr val="F26B43"/>
          </p15:clr>
        </p15:guide>
        <p15:guide id="12" orient="horz" pos="327" userDrawn="1">
          <p15:clr>
            <a:srgbClr val="F26B43"/>
          </p15:clr>
        </p15:guide>
        <p15:guide id="14" orient="horz" pos="891" userDrawn="1">
          <p15:clr>
            <a:srgbClr val="F26B43"/>
          </p15:clr>
        </p15:guide>
        <p15:guide id="16" orient="horz" pos="1447" userDrawn="1">
          <p15:clr>
            <a:srgbClr val="F26B43"/>
          </p15:clr>
        </p15:guide>
        <p15:guide id="18" orient="horz" pos="3016" userDrawn="1">
          <p15:clr>
            <a:srgbClr val="F26B43"/>
          </p15:clr>
        </p15:guide>
        <p15:guide id="19" orient="horz" pos="1335" userDrawn="1">
          <p15:clr>
            <a:srgbClr val="F26B43"/>
          </p15:clr>
        </p15:guide>
        <p15:guide id="20" orient="horz" pos="1894" userDrawn="1">
          <p15:clr>
            <a:srgbClr val="F26B43"/>
          </p15:clr>
        </p15:guide>
        <p15:guide id="21" orient="horz" pos="2012" userDrawn="1">
          <p15:clr>
            <a:srgbClr val="F26B43"/>
          </p15:clr>
        </p15:guide>
        <p15:guide id="22" orient="horz" pos="2456" userDrawn="1">
          <p15:clr>
            <a:srgbClr val="F26B43"/>
          </p15:clr>
        </p15:guide>
        <p15:guide id="23" orient="horz" pos="2570" userDrawn="1">
          <p15:clr>
            <a:srgbClr val="F26B43"/>
          </p15:clr>
        </p15:guide>
        <p15:guide id="24" pos="1461" userDrawn="1">
          <p15:clr>
            <a:srgbClr val="F26B43"/>
          </p15:clr>
        </p15:guide>
        <p15:guide id="25" pos="1573" userDrawn="1">
          <p15:clr>
            <a:srgbClr val="F26B43"/>
          </p15:clr>
        </p15:guide>
        <p15:guide id="26" pos="2812" userDrawn="1">
          <p15:clr>
            <a:srgbClr val="F26B43"/>
          </p15:clr>
        </p15:guide>
        <p15:guide id="27" pos="2938" userDrawn="1">
          <p15:clr>
            <a:srgbClr val="F26B43"/>
          </p15:clr>
        </p15:guide>
        <p15:guide id="28" pos="4178" userDrawn="1">
          <p15:clr>
            <a:srgbClr val="F26B43"/>
          </p15:clr>
        </p15:guide>
        <p15:guide id="29" pos="429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8000" y="287737"/>
            <a:ext cx="8207688" cy="8093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8000" y="1132428"/>
            <a:ext cx="8207688" cy="3308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en-GB" dirty="0"/>
              <a:t>The main text area has five predefined type levels you can use to format your text.</a:t>
            </a:r>
          </a:p>
          <a:p>
            <a:endParaRPr lang="en-GB" dirty="0"/>
          </a:p>
          <a:p>
            <a:r>
              <a:rPr lang="en-GB" dirty="0"/>
              <a:t>Level one is the standard text format</a:t>
            </a:r>
          </a:p>
          <a:p>
            <a:pPr lvl="1"/>
            <a:r>
              <a:rPr lang="en-GB" dirty="0"/>
              <a:t>Level two is the subheading or intro format</a:t>
            </a:r>
          </a:p>
          <a:p>
            <a:pPr lvl="2"/>
            <a:r>
              <a:rPr lang="en-GB" dirty="0"/>
              <a:t>Level three is the highlight format</a:t>
            </a:r>
          </a:p>
          <a:p>
            <a:pPr lvl="3"/>
            <a:r>
              <a:rPr lang="en-GB" dirty="0"/>
              <a:t>Level four is the first level of bullets</a:t>
            </a:r>
          </a:p>
          <a:p>
            <a:pPr lvl="4"/>
            <a:r>
              <a:rPr lang="en-GB" dirty="0"/>
              <a:t>Level five is the second level of bullets</a:t>
            </a:r>
          </a:p>
          <a:p>
            <a:pPr lvl="5"/>
            <a:r>
              <a:rPr lang="en-GB" dirty="0"/>
              <a:t>Level six is used for numbered paragraphs</a:t>
            </a:r>
          </a:p>
          <a:p>
            <a:pPr lvl="6"/>
            <a:r>
              <a:rPr lang="en-GB" dirty="0"/>
              <a:t>Level seven is used for alphabetical paragraphs</a:t>
            </a:r>
          </a:p>
          <a:p>
            <a:endParaRPr lang="en-GB" dirty="0"/>
          </a:p>
          <a:p>
            <a:r>
              <a:rPr lang="en-GB" dirty="0"/>
              <a:t>You can move up or down the levels using the Increase or decrease indent buttons </a:t>
            </a:r>
            <a:br>
              <a:rPr lang="en-GB" dirty="0"/>
            </a:br>
            <a:r>
              <a:rPr lang="en-GB" dirty="0"/>
              <a:t>in the paragraph section of the Home tab in the Ribbon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8000" y="4620823"/>
            <a:ext cx="6400800" cy="356616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lang="en-GB" sz="900" i="1" cap="none" baseline="0" dirty="0">
                <a:solidFill>
                  <a:srgbClr val="B9B9B9"/>
                </a:solidFill>
              </a:defRPr>
            </a:lvl1pPr>
          </a:lstStyle>
          <a:p>
            <a:endParaRPr lang="en-IE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6512" y="4847613"/>
            <a:ext cx="504056" cy="129827"/>
          </a:xfrm>
          <a:prstGeom prst="rect">
            <a:avLst/>
          </a:prstGeom>
        </p:spPr>
        <p:txBody>
          <a:bodyPr lIns="0" tIns="0" rIns="0" bIns="0" anchor="b"/>
          <a:lstStyle>
            <a:lvl1pPr algn="ctr">
              <a:defRPr sz="800">
                <a:solidFill>
                  <a:srgbClr val="B9B9B9"/>
                </a:solidFill>
              </a:defRPr>
            </a:lvl1pPr>
          </a:lstStyle>
          <a:p>
            <a:fld id="{781577C7-C20B-4E75-8C29-94D46379FC8C}" type="slidenum">
              <a:rPr lang="en-IE" smtClean="0"/>
              <a:t>‹#›</a:t>
            </a:fld>
            <a:endParaRPr lang="en-IE"/>
          </a:p>
        </p:txBody>
      </p:sp>
      <p:grpSp>
        <p:nvGrpSpPr>
          <p:cNvPr id="6" name="LogoLight" hidden="1"/>
          <p:cNvGrpSpPr>
            <a:grpSpLocks noChangeAspect="1"/>
          </p:cNvGrpSpPr>
          <p:nvPr/>
        </p:nvGrpSpPr>
        <p:grpSpPr bwMode="auto">
          <a:xfrm>
            <a:off x="7788131" y="4662926"/>
            <a:ext cx="1097280" cy="313476"/>
            <a:chOff x="444" y="928"/>
            <a:chExt cx="4869" cy="1391"/>
          </a:xfrm>
          <a:solidFill>
            <a:srgbClr val="FFFFFF"/>
          </a:solidFill>
        </p:grpSpPr>
        <p:sp>
          <p:nvSpPr>
            <p:cNvPr id="15" name="Freeform 6" hidden="1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6" name="Freeform 7" hidden="1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7" name="Freeform 8" hidden="1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8" name="Freeform 9" hidden="1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9" name="Freeform 10" hidden="1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0" name="Freeform 11" hidden="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grpSp>
        <p:nvGrpSpPr>
          <p:cNvPr id="21" name="LogoDark"/>
          <p:cNvGrpSpPr>
            <a:grpSpLocks noChangeAspect="1"/>
          </p:cNvGrpSpPr>
          <p:nvPr/>
        </p:nvGrpSpPr>
        <p:grpSpPr bwMode="auto">
          <a:xfrm>
            <a:off x="7788131" y="4662926"/>
            <a:ext cx="1097280" cy="313476"/>
            <a:chOff x="444" y="928"/>
            <a:chExt cx="4869" cy="1391"/>
          </a:xfrm>
          <a:solidFill>
            <a:srgbClr val="0A2756"/>
          </a:solidFill>
        </p:grpSpPr>
        <p:sp>
          <p:nvSpPr>
            <p:cNvPr id="22" name="Freeform 6"/>
            <p:cNvSpPr>
              <a:spLocks/>
            </p:cNvSpPr>
            <p:nvPr userDrawn="1"/>
          </p:nvSpPr>
          <p:spPr bwMode="auto">
            <a:xfrm>
              <a:off x="2484" y="1185"/>
              <a:ext cx="625" cy="761"/>
            </a:xfrm>
            <a:custGeom>
              <a:avLst/>
              <a:gdLst>
                <a:gd name="T0" fmla="*/ 0 w 625"/>
                <a:gd name="T1" fmla="*/ 0 h 761"/>
                <a:gd name="T2" fmla="*/ 149 w 625"/>
                <a:gd name="T3" fmla="*/ 0 h 761"/>
                <a:gd name="T4" fmla="*/ 149 w 625"/>
                <a:gd name="T5" fmla="*/ 407 h 761"/>
                <a:gd name="T6" fmla="*/ 152 w 625"/>
                <a:gd name="T7" fmla="*/ 453 h 761"/>
                <a:gd name="T8" fmla="*/ 158 w 625"/>
                <a:gd name="T9" fmla="*/ 493 h 761"/>
                <a:gd name="T10" fmla="*/ 167 w 625"/>
                <a:gd name="T11" fmla="*/ 528 h 761"/>
                <a:gd name="T12" fmla="*/ 180 w 625"/>
                <a:gd name="T13" fmla="*/ 556 h 761"/>
                <a:gd name="T14" fmla="*/ 198 w 625"/>
                <a:gd name="T15" fmla="*/ 580 h 761"/>
                <a:gd name="T16" fmla="*/ 220 w 625"/>
                <a:gd name="T17" fmla="*/ 597 h 761"/>
                <a:gd name="T18" fmla="*/ 247 w 625"/>
                <a:gd name="T19" fmla="*/ 610 h 761"/>
                <a:gd name="T20" fmla="*/ 278 w 625"/>
                <a:gd name="T21" fmla="*/ 618 h 761"/>
                <a:gd name="T22" fmla="*/ 313 w 625"/>
                <a:gd name="T23" fmla="*/ 619 h 761"/>
                <a:gd name="T24" fmla="*/ 347 w 625"/>
                <a:gd name="T25" fmla="*/ 618 h 761"/>
                <a:gd name="T26" fmla="*/ 378 w 625"/>
                <a:gd name="T27" fmla="*/ 610 h 761"/>
                <a:gd name="T28" fmla="*/ 405 w 625"/>
                <a:gd name="T29" fmla="*/ 597 h 761"/>
                <a:gd name="T30" fmla="*/ 427 w 625"/>
                <a:gd name="T31" fmla="*/ 580 h 761"/>
                <a:gd name="T32" fmla="*/ 445 w 625"/>
                <a:gd name="T33" fmla="*/ 556 h 761"/>
                <a:gd name="T34" fmla="*/ 458 w 625"/>
                <a:gd name="T35" fmla="*/ 528 h 761"/>
                <a:gd name="T36" fmla="*/ 468 w 625"/>
                <a:gd name="T37" fmla="*/ 493 h 761"/>
                <a:gd name="T38" fmla="*/ 473 w 625"/>
                <a:gd name="T39" fmla="*/ 453 h 761"/>
                <a:gd name="T40" fmla="*/ 476 w 625"/>
                <a:gd name="T41" fmla="*/ 407 h 761"/>
                <a:gd name="T42" fmla="*/ 476 w 625"/>
                <a:gd name="T43" fmla="*/ 0 h 761"/>
                <a:gd name="T44" fmla="*/ 625 w 625"/>
                <a:gd name="T45" fmla="*/ 0 h 761"/>
                <a:gd name="T46" fmla="*/ 625 w 625"/>
                <a:gd name="T47" fmla="*/ 422 h 761"/>
                <a:gd name="T48" fmla="*/ 622 w 625"/>
                <a:gd name="T49" fmla="*/ 479 h 761"/>
                <a:gd name="T50" fmla="*/ 615 w 625"/>
                <a:gd name="T51" fmla="*/ 531 h 761"/>
                <a:gd name="T52" fmla="*/ 601 w 625"/>
                <a:gd name="T53" fmla="*/ 578 h 761"/>
                <a:gd name="T54" fmla="*/ 582 w 625"/>
                <a:gd name="T55" fmla="*/ 619 h 761"/>
                <a:gd name="T56" fmla="*/ 558 w 625"/>
                <a:gd name="T57" fmla="*/ 656 h 761"/>
                <a:gd name="T58" fmla="*/ 529 w 625"/>
                <a:gd name="T59" fmla="*/ 687 h 761"/>
                <a:gd name="T60" fmla="*/ 495 w 625"/>
                <a:gd name="T61" fmla="*/ 714 h 761"/>
                <a:gd name="T62" fmla="*/ 457 w 625"/>
                <a:gd name="T63" fmla="*/ 734 h 761"/>
                <a:gd name="T64" fmla="*/ 414 w 625"/>
                <a:gd name="T65" fmla="*/ 749 h 761"/>
                <a:gd name="T66" fmla="*/ 365 w 625"/>
                <a:gd name="T67" fmla="*/ 758 h 761"/>
                <a:gd name="T68" fmla="*/ 313 w 625"/>
                <a:gd name="T69" fmla="*/ 761 h 761"/>
                <a:gd name="T70" fmla="*/ 260 w 625"/>
                <a:gd name="T71" fmla="*/ 758 h 761"/>
                <a:gd name="T72" fmla="*/ 211 w 625"/>
                <a:gd name="T73" fmla="*/ 749 h 761"/>
                <a:gd name="T74" fmla="*/ 169 w 625"/>
                <a:gd name="T75" fmla="*/ 734 h 761"/>
                <a:gd name="T76" fmla="*/ 130 w 625"/>
                <a:gd name="T77" fmla="*/ 714 h 761"/>
                <a:gd name="T78" fmla="*/ 96 w 625"/>
                <a:gd name="T79" fmla="*/ 687 h 761"/>
                <a:gd name="T80" fmla="*/ 67 w 625"/>
                <a:gd name="T81" fmla="*/ 656 h 761"/>
                <a:gd name="T82" fmla="*/ 43 w 625"/>
                <a:gd name="T83" fmla="*/ 619 h 761"/>
                <a:gd name="T84" fmla="*/ 24 w 625"/>
                <a:gd name="T85" fmla="*/ 578 h 761"/>
                <a:gd name="T86" fmla="*/ 11 w 625"/>
                <a:gd name="T87" fmla="*/ 531 h 761"/>
                <a:gd name="T88" fmla="*/ 3 w 625"/>
                <a:gd name="T89" fmla="*/ 479 h 761"/>
                <a:gd name="T90" fmla="*/ 0 w 625"/>
                <a:gd name="T91" fmla="*/ 422 h 761"/>
                <a:gd name="T92" fmla="*/ 0 w 625"/>
                <a:gd name="T93" fmla="*/ 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625" h="761">
                  <a:moveTo>
                    <a:pt x="0" y="0"/>
                  </a:moveTo>
                  <a:lnTo>
                    <a:pt x="149" y="0"/>
                  </a:lnTo>
                  <a:lnTo>
                    <a:pt x="149" y="407"/>
                  </a:lnTo>
                  <a:lnTo>
                    <a:pt x="152" y="453"/>
                  </a:lnTo>
                  <a:lnTo>
                    <a:pt x="158" y="493"/>
                  </a:lnTo>
                  <a:lnTo>
                    <a:pt x="167" y="528"/>
                  </a:lnTo>
                  <a:lnTo>
                    <a:pt x="180" y="556"/>
                  </a:lnTo>
                  <a:lnTo>
                    <a:pt x="198" y="580"/>
                  </a:lnTo>
                  <a:lnTo>
                    <a:pt x="220" y="597"/>
                  </a:lnTo>
                  <a:lnTo>
                    <a:pt x="247" y="610"/>
                  </a:lnTo>
                  <a:lnTo>
                    <a:pt x="278" y="618"/>
                  </a:lnTo>
                  <a:lnTo>
                    <a:pt x="313" y="619"/>
                  </a:lnTo>
                  <a:lnTo>
                    <a:pt x="347" y="618"/>
                  </a:lnTo>
                  <a:lnTo>
                    <a:pt x="378" y="610"/>
                  </a:lnTo>
                  <a:lnTo>
                    <a:pt x="405" y="597"/>
                  </a:lnTo>
                  <a:lnTo>
                    <a:pt x="427" y="580"/>
                  </a:lnTo>
                  <a:lnTo>
                    <a:pt x="445" y="556"/>
                  </a:lnTo>
                  <a:lnTo>
                    <a:pt x="458" y="528"/>
                  </a:lnTo>
                  <a:lnTo>
                    <a:pt x="468" y="493"/>
                  </a:lnTo>
                  <a:lnTo>
                    <a:pt x="473" y="453"/>
                  </a:lnTo>
                  <a:lnTo>
                    <a:pt x="476" y="407"/>
                  </a:lnTo>
                  <a:lnTo>
                    <a:pt x="476" y="0"/>
                  </a:lnTo>
                  <a:lnTo>
                    <a:pt x="625" y="0"/>
                  </a:lnTo>
                  <a:lnTo>
                    <a:pt x="625" y="422"/>
                  </a:lnTo>
                  <a:lnTo>
                    <a:pt x="622" y="479"/>
                  </a:lnTo>
                  <a:lnTo>
                    <a:pt x="615" y="531"/>
                  </a:lnTo>
                  <a:lnTo>
                    <a:pt x="601" y="578"/>
                  </a:lnTo>
                  <a:lnTo>
                    <a:pt x="582" y="619"/>
                  </a:lnTo>
                  <a:lnTo>
                    <a:pt x="558" y="656"/>
                  </a:lnTo>
                  <a:lnTo>
                    <a:pt x="529" y="687"/>
                  </a:lnTo>
                  <a:lnTo>
                    <a:pt x="495" y="714"/>
                  </a:lnTo>
                  <a:lnTo>
                    <a:pt x="457" y="734"/>
                  </a:lnTo>
                  <a:lnTo>
                    <a:pt x="414" y="749"/>
                  </a:lnTo>
                  <a:lnTo>
                    <a:pt x="365" y="758"/>
                  </a:lnTo>
                  <a:lnTo>
                    <a:pt x="313" y="761"/>
                  </a:lnTo>
                  <a:lnTo>
                    <a:pt x="260" y="758"/>
                  </a:lnTo>
                  <a:lnTo>
                    <a:pt x="211" y="749"/>
                  </a:lnTo>
                  <a:lnTo>
                    <a:pt x="169" y="734"/>
                  </a:lnTo>
                  <a:lnTo>
                    <a:pt x="130" y="714"/>
                  </a:lnTo>
                  <a:lnTo>
                    <a:pt x="96" y="687"/>
                  </a:lnTo>
                  <a:lnTo>
                    <a:pt x="67" y="656"/>
                  </a:lnTo>
                  <a:lnTo>
                    <a:pt x="43" y="619"/>
                  </a:lnTo>
                  <a:lnTo>
                    <a:pt x="24" y="578"/>
                  </a:lnTo>
                  <a:lnTo>
                    <a:pt x="11" y="531"/>
                  </a:lnTo>
                  <a:lnTo>
                    <a:pt x="3" y="479"/>
                  </a:lnTo>
                  <a:lnTo>
                    <a:pt x="0" y="42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3" name="Freeform 7"/>
            <p:cNvSpPr>
              <a:spLocks noEditPoints="1"/>
            </p:cNvSpPr>
            <p:nvPr userDrawn="1"/>
          </p:nvSpPr>
          <p:spPr bwMode="auto">
            <a:xfrm>
              <a:off x="3189" y="1163"/>
              <a:ext cx="747" cy="1084"/>
            </a:xfrm>
            <a:custGeom>
              <a:avLst/>
              <a:gdLst>
                <a:gd name="T0" fmla="*/ 341 w 747"/>
                <a:gd name="T1" fmla="*/ 137 h 1084"/>
                <a:gd name="T2" fmla="*/ 277 w 747"/>
                <a:gd name="T3" fmla="*/ 158 h 1084"/>
                <a:gd name="T4" fmla="*/ 220 w 747"/>
                <a:gd name="T5" fmla="*/ 199 h 1084"/>
                <a:gd name="T6" fmla="*/ 177 w 747"/>
                <a:gd name="T7" fmla="*/ 261 h 1084"/>
                <a:gd name="T8" fmla="*/ 153 w 747"/>
                <a:gd name="T9" fmla="*/ 342 h 1084"/>
                <a:gd name="T10" fmla="*/ 152 w 747"/>
                <a:gd name="T11" fmla="*/ 425 h 1084"/>
                <a:gd name="T12" fmla="*/ 166 w 747"/>
                <a:gd name="T13" fmla="*/ 492 h 1084"/>
                <a:gd name="T14" fmla="*/ 197 w 747"/>
                <a:gd name="T15" fmla="*/ 553 h 1084"/>
                <a:gd name="T16" fmla="*/ 242 w 747"/>
                <a:gd name="T17" fmla="*/ 603 h 1084"/>
                <a:gd name="T18" fmla="*/ 301 w 747"/>
                <a:gd name="T19" fmla="*/ 635 h 1084"/>
                <a:gd name="T20" fmla="*/ 375 w 747"/>
                <a:gd name="T21" fmla="*/ 649 h 1084"/>
                <a:gd name="T22" fmla="*/ 437 w 747"/>
                <a:gd name="T23" fmla="*/ 640 h 1084"/>
                <a:gd name="T24" fmla="*/ 494 w 747"/>
                <a:gd name="T25" fmla="*/ 616 h 1084"/>
                <a:gd name="T26" fmla="*/ 544 w 747"/>
                <a:gd name="T27" fmla="*/ 574 h 1084"/>
                <a:gd name="T28" fmla="*/ 581 w 747"/>
                <a:gd name="T29" fmla="*/ 515 h 1084"/>
                <a:gd name="T30" fmla="*/ 602 w 747"/>
                <a:gd name="T31" fmla="*/ 436 h 1084"/>
                <a:gd name="T32" fmla="*/ 602 w 747"/>
                <a:gd name="T33" fmla="*/ 342 h 1084"/>
                <a:gd name="T34" fmla="*/ 575 w 747"/>
                <a:gd name="T35" fmla="*/ 256 h 1084"/>
                <a:gd name="T36" fmla="*/ 527 w 747"/>
                <a:gd name="T37" fmla="*/ 192 h 1084"/>
                <a:gd name="T38" fmla="*/ 459 w 747"/>
                <a:gd name="T39" fmla="*/ 149 h 1084"/>
                <a:gd name="T40" fmla="*/ 375 w 747"/>
                <a:gd name="T41" fmla="*/ 134 h 1084"/>
                <a:gd name="T42" fmla="*/ 450 w 747"/>
                <a:gd name="T43" fmla="*/ 4 h 1084"/>
                <a:gd name="T44" fmla="*/ 541 w 747"/>
                <a:gd name="T45" fmla="*/ 31 h 1084"/>
                <a:gd name="T46" fmla="*/ 620 w 747"/>
                <a:gd name="T47" fmla="*/ 82 h 1084"/>
                <a:gd name="T48" fmla="*/ 682 w 747"/>
                <a:gd name="T49" fmla="*/ 155 h 1084"/>
                <a:gd name="T50" fmla="*/ 723 w 747"/>
                <a:gd name="T51" fmla="*/ 240 h 1084"/>
                <a:gd name="T52" fmla="*/ 745 w 747"/>
                <a:gd name="T53" fmla="*/ 335 h 1084"/>
                <a:gd name="T54" fmla="*/ 745 w 747"/>
                <a:gd name="T55" fmla="*/ 438 h 1084"/>
                <a:gd name="T56" fmla="*/ 724 w 747"/>
                <a:gd name="T57" fmla="*/ 537 h 1084"/>
                <a:gd name="T58" fmla="*/ 683 w 747"/>
                <a:gd name="T59" fmla="*/ 624 h 1084"/>
                <a:gd name="T60" fmla="*/ 621 w 747"/>
                <a:gd name="T61" fmla="*/ 699 h 1084"/>
                <a:gd name="T62" fmla="*/ 541 w 747"/>
                <a:gd name="T63" fmla="*/ 752 h 1084"/>
                <a:gd name="T64" fmla="*/ 447 w 747"/>
                <a:gd name="T65" fmla="*/ 778 h 1084"/>
                <a:gd name="T66" fmla="*/ 348 w 747"/>
                <a:gd name="T67" fmla="*/ 778 h 1084"/>
                <a:gd name="T68" fmla="*/ 259 w 747"/>
                <a:gd name="T69" fmla="*/ 748 h 1084"/>
                <a:gd name="T70" fmla="*/ 183 w 747"/>
                <a:gd name="T71" fmla="*/ 690 h 1084"/>
                <a:gd name="T72" fmla="*/ 150 w 747"/>
                <a:gd name="T73" fmla="*/ 1084 h 1084"/>
                <a:gd name="T74" fmla="*/ 0 w 747"/>
                <a:gd name="T75" fmla="*/ 22 h 1084"/>
                <a:gd name="T76" fmla="*/ 150 w 747"/>
                <a:gd name="T77" fmla="*/ 136 h 1084"/>
                <a:gd name="T78" fmla="*/ 220 w 747"/>
                <a:gd name="T79" fmla="*/ 62 h 1084"/>
                <a:gd name="T80" fmla="*/ 305 w 747"/>
                <a:gd name="T81" fmla="*/ 16 h 1084"/>
                <a:gd name="T82" fmla="*/ 401 w 747"/>
                <a:gd name="T83" fmla="*/ 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47" h="1084">
                  <a:moveTo>
                    <a:pt x="375" y="134"/>
                  </a:moveTo>
                  <a:lnTo>
                    <a:pt x="341" y="137"/>
                  </a:lnTo>
                  <a:lnTo>
                    <a:pt x="308" y="144"/>
                  </a:lnTo>
                  <a:lnTo>
                    <a:pt x="277" y="158"/>
                  </a:lnTo>
                  <a:lnTo>
                    <a:pt x="248" y="175"/>
                  </a:lnTo>
                  <a:lnTo>
                    <a:pt x="220" y="199"/>
                  </a:lnTo>
                  <a:lnTo>
                    <a:pt x="196" y="227"/>
                  </a:lnTo>
                  <a:lnTo>
                    <a:pt x="177" y="261"/>
                  </a:lnTo>
                  <a:lnTo>
                    <a:pt x="162" y="299"/>
                  </a:lnTo>
                  <a:lnTo>
                    <a:pt x="153" y="342"/>
                  </a:lnTo>
                  <a:lnTo>
                    <a:pt x="150" y="389"/>
                  </a:lnTo>
                  <a:lnTo>
                    <a:pt x="152" y="425"/>
                  </a:lnTo>
                  <a:lnTo>
                    <a:pt x="158" y="458"/>
                  </a:lnTo>
                  <a:lnTo>
                    <a:pt x="166" y="492"/>
                  </a:lnTo>
                  <a:lnTo>
                    <a:pt x="180" y="525"/>
                  </a:lnTo>
                  <a:lnTo>
                    <a:pt x="197" y="553"/>
                  </a:lnTo>
                  <a:lnTo>
                    <a:pt x="218" y="579"/>
                  </a:lnTo>
                  <a:lnTo>
                    <a:pt x="242" y="603"/>
                  </a:lnTo>
                  <a:lnTo>
                    <a:pt x="270" y="622"/>
                  </a:lnTo>
                  <a:lnTo>
                    <a:pt x="301" y="635"/>
                  </a:lnTo>
                  <a:lnTo>
                    <a:pt x="336" y="646"/>
                  </a:lnTo>
                  <a:lnTo>
                    <a:pt x="375" y="649"/>
                  </a:lnTo>
                  <a:lnTo>
                    <a:pt x="406" y="646"/>
                  </a:lnTo>
                  <a:lnTo>
                    <a:pt x="437" y="640"/>
                  </a:lnTo>
                  <a:lnTo>
                    <a:pt x="466" y="630"/>
                  </a:lnTo>
                  <a:lnTo>
                    <a:pt x="494" y="616"/>
                  </a:lnTo>
                  <a:lnTo>
                    <a:pt x="521" y="597"/>
                  </a:lnTo>
                  <a:lnTo>
                    <a:pt x="544" y="574"/>
                  </a:lnTo>
                  <a:lnTo>
                    <a:pt x="565" y="547"/>
                  </a:lnTo>
                  <a:lnTo>
                    <a:pt x="581" y="515"/>
                  </a:lnTo>
                  <a:lnTo>
                    <a:pt x="595" y="478"/>
                  </a:lnTo>
                  <a:lnTo>
                    <a:pt x="602" y="436"/>
                  </a:lnTo>
                  <a:lnTo>
                    <a:pt x="605" y="389"/>
                  </a:lnTo>
                  <a:lnTo>
                    <a:pt x="602" y="342"/>
                  </a:lnTo>
                  <a:lnTo>
                    <a:pt x="592" y="296"/>
                  </a:lnTo>
                  <a:lnTo>
                    <a:pt x="575" y="256"/>
                  </a:lnTo>
                  <a:lnTo>
                    <a:pt x="553" y="221"/>
                  </a:lnTo>
                  <a:lnTo>
                    <a:pt x="527" y="192"/>
                  </a:lnTo>
                  <a:lnTo>
                    <a:pt x="494" y="166"/>
                  </a:lnTo>
                  <a:lnTo>
                    <a:pt x="459" y="149"/>
                  </a:lnTo>
                  <a:lnTo>
                    <a:pt x="417" y="138"/>
                  </a:lnTo>
                  <a:lnTo>
                    <a:pt x="375" y="134"/>
                  </a:lnTo>
                  <a:close/>
                  <a:moveTo>
                    <a:pt x="401" y="0"/>
                  </a:moveTo>
                  <a:lnTo>
                    <a:pt x="450" y="4"/>
                  </a:lnTo>
                  <a:lnTo>
                    <a:pt x="497" y="13"/>
                  </a:lnTo>
                  <a:lnTo>
                    <a:pt x="541" y="31"/>
                  </a:lnTo>
                  <a:lnTo>
                    <a:pt x="583" y="53"/>
                  </a:lnTo>
                  <a:lnTo>
                    <a:pt x="620" y="82"/>
                  </a:lnTo>
                  <a:lnTo>
                    <a:pt x="654" y="118"/>
                  </a:lnTo>
                  <a:lnTo>
                    <a:pt x="682" y="155"/>
                  </a:lnTo>
                  <a:lnTo>
                    <a:pt x="705" y="196"/>
                  </a:lnTo>
                  <a:lnTo>
                    <a:pt x="723" y="240"/>
                  </a:lnTo>
                  <a:lnTo>
                    <a:pt x="736" y="286"/>
                  </a:lnTo>
                  <a:lnTo>
                    <a:pt x="745" y="335"/>
                  </a:lnTo>
                  <a:lnTo>
                    <a:pt x="747" y="385"/>
                  </a:lnTo>
                  <a:lnTo>
                    <a:pt x="745" y="438"/>
                  </a:lnTo>
                  <a:lnTo>
                    <a:pt x="736" y="488"/>
                  </a:lnTo>
                  <a:lnTo>
                    <a:pt x="724" y="537"/>
                  </a:lnTo>
                  <a:lnTo>
                    <a:pt x="705" y="582"/>
                  </a:lnTo>
                  <a:lnTo>
                    <a:pt x="683" y="624"/>
                  </a:lnTo>
                  <a:lnTo>
                    <a:pt x="657" y="662"/>
                  </a:lnTo>
                  <a:lnTo>
                    <a:pt x="621" y="699"/>
                  </a:lnTo>
                  <a:lnTo>
                    <a:pt x="583" y="728"/>
                  </a:lnTo>
                  <a:lnTo>
                    <a:pt x="541" y="752"/>
                  </a:lnTo>
                  <a:lnTo>
                    <a:pt x="496" y="768"/>
                  </a:lnTo>
                  <a:lnTo>
                    <a:pt x="447" y="778"/>
                  </a:lnTo>
                  <a:lnTo>
                    <a:pt x="395" y="783"/>
                  </a:lnTo>
                  <a:lnTo>
                    <a:pt x="348" y="778"/>
                  </a:lnTo>
                  <a:lnTo>
                    <a:pt x="302" y="767"/>
                  </a:lnTo>
                  <a:lnTo>
                    <a:pt x="259" y="748"/>
                  </a:lnTo>
                  <a:lnTo>
                    <a:pt x="220" y="722"/>
                  </a:lnTo>
                  <a:lnTo>
                    <a:pt x="183" y="690"/>
                  </a:lnTo>
                  <a:lnTo>
                    <a:pt x="150" y="650"/>
                  </a:lnTo>
                  <a:lnTo>
                    <a:pt x="150" y="1084"/>
                  </a:lnTo>
                  <a:lnTo>
                    <a:pt x="0" y="1084"/>
                  </a:lnTo>
                  <a:lnTo>
                    <a:pt x="0" y="22"/>
                  </a:lnTo>
                  <a:lnTo>
                    <a:pt x="150" y="22"/>
                  </a:lnTo>
                  <a:lnTo>
                    <a:pt x="150" y="136"/>
                  </a:lnTo>
                  <a:lnTo>
                    <a:pt x="183" y="96"/>
                  </a:lnTo>
                  <a:lnTo>
                    <a:pt x="220" y="62"/>
                  </a:lnTo>
                  <a:lnTo>
                    <a:pt x="261" y="35"/>
                  </a:lnTo>
                  <a:lnTo>
                    <a:pt x="305" y="16"/>
                  </a:lnTo>
                  <a:lnTo>
                    <a:pt x="351" y="4"/>
                  </a:lnTo>
                  <a:lnTo>
                    <a:pt x="40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4" name="Freeform 8"/>
            <p:cNvSpPr>
              <a:spLocks/>
            </p:cNvSpPr>
            <p:nvPr userDrawn="1"/>
          </p:nvSpPr>
          <p:spPr bwMode="auto">
            <a:xfrm>
              <a:off x="1269" y="1163"/>
              <a:ext cx="470" cy="758"/>
            </a:xfrm>
            <a:custGeom>
              <a:avLst/>
              <a:gdLst>
                <a:gd name="T0" fmla="*/ 349 w 470"/>
                <a:gd name="T1" fmla="*/ 0 h 758"/>
                <a:gd name="T2" fmla="*/ 389 w 470"/>
                <a:gd name="T3" fmla="*/ 4 h 758"/>
                <a:gd name="T4" fmla="*/ 428 w 470"/>
                <a:gd name="T5" fmla="*/ 16 h 758"/>
                <a:gd name="T6" fmla="*/ 467 w 470"/>
                <a:gd name="T7" fmla="*/ 37 h 758"/>
                <a:gd name="T8" fmla="*/ 468 w 470"/>
                <a:gd name="T9" fmla="*/ 37 h 758"/>
                <a:gd name="T10" fmla="*/ 470 w 470"/>
                <a:gd name="T11" fmla="*/ 38 h 758"/>
                <a:gd name="T12" fmla="*/ 374 w 470"/>
                <a:gd name="T13" fmla="*/ 156 h 758"/>
                <a:gd name="T14" fmla="*/ 347 w 470"/>
                <a:gd name="T15" fmla="*/ 147 h 758"/>
                <a:gd name="T16" fmla="*/ 315 w 470"/>
                <a:gd name="T17" fmla="*/ 143 h 758"/>
                <a:gd name="T18" fmla="*/ 281 w 470"/>
                <a:gd name="T19" fmla="*/ 146 h 758"/>
                <a:gd name="T20" fmla="*/ 253 w 470"/>
                <a:gd name="T21" fmla="*/ 155 h 758"/>
                <a:gd name="T22" fmla="*/ 228 w 470"/>
                <a:gd name="T23" fmla="*/ 166 h 758"/>
                <a:gd name="T24" fmla="*/ 208 w 470"/>
                <a:gd name="T25" fmla="*/ 183 h 758"/>
                <a:gd name="T26" fmla="*/ 191 w 470"/>
                <a:gd name="T27" fmla="*/ 203 h 758"/>
                <a:gd name="T28" fmla="*/ 179 w 470"/>
                <a:gd name="T29" fmla="*/ 225 h 758"/>
                <a:gd name="T30" fmla="*/ 169 w 470"/>
                <a:gd name="T31" fmla="*/ 251 h 758"/>
                <a:gd name="T32" fmla="*/ 161 w 470"/>
                <a:gd name="T33" fmla="*/ 279 h 758"/>
                <a:gd name="T34" fmla="*/ 155 w 470"/>
                <a:gd name="T35" fmla="*/ 307 h 758"/>
                <a:gd name="T36" fmla="*/ 152 w 470"/>
                <a:gd name="T37" fmla="*/ 336 h 758"/>
                <a:gd name="T38" fmla="*/ 151 w 470"/>
                <a:gd name="T39" fmla="*/ 366 h 758"/>
                <a:gd name="T40" fmla="*/ 151 w 470"/>
                <a:gd name="T41" fmla="*/ 397 h 758"/>
                <a:gd name="T42" fmla="*/ 151 w 470"/>
                <a:gd name="T43" fmla="*/ 758 h 758"/>
                <a:gd name="T44" fmla="*/ 0 w 470"/>
                <a:gd name="T45" fmla="*/ 758 h 758"/>
                <a:gd name="T46" fmla="*/ 0 w 470"/>
                <a:gd name="T47" fmla="*/ 22 h 758"/>
                <a:gd name="T48" fmla="*/ 151 w 470"/>
                <a:gd name="T49" fmla="*/ 22 h 758"/>
                <a:gd name="T50" fmla="*/ 151 w 470"/>
                <a:gd name="T51" fmla="*/ 131 h 758"/>
                <a:gd name="T52" fmla="*/ 173 w 470"/>
                <a:gd name="T53" fmla="*/ 93 h 758"/>
                <a:gd name="T54" fmla="*/ 200 w 470"/>
                <a:gd name="T55" fmla="*/ 60 h 758"/>
                <a:gd name="T56" fmla="*/ 231 w 470"/>
                <a:gd name="T57" fmla="*/ 34 h 758"/>
                <a:gd name="T58" fmla="*/ 266 w 470"/>
                <a:gd name="T59" fmla="*/ 16 h 758"/>
                <a:gd name="T60" fmla="*/ 306 w 470"/>
                <a:gd name="T61" fmla="*/ 4 h 758"/>
                <a:gd name="T62" fmla="*/ 349 w 470"/>
                <a:gd name="T63" fmla="*/ 0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0" h="758">
                  <a:moveTo>
                    <a:pt x="349" y="0"/>
                  </a:moveTo>
                  <a:lnTo>
                    <a:pt x="389" y="4"/>
                  </a:lnTo>
                  <a:lnTo>
                    <a:pt x="428" y="16"/>
                  </a:lnTo>
                  <a:lnTo>
                    <a:pt x="467" y="37"/>
                  </a:lnTo>
                  <a:lnTo>
                    <a:pt x="468" y="37"/>
                  </a:lnTo>
                  <a:lnTo>
                    <a:pt x="470" y="38"/>
                  </a:lnTo>
                  <a:lnTo>
                    <a:pt x="374" y="156"/>
                  </a:lnTo>
                  <a:lnTo>
                    <a:pt x="347" y="147"/>
                  </a:lnTo>
                  <a:lnTo>
                    <a:pt x="315" y="143"/>
                  </a:lnTo>
                  <a:lnTo>
                    <a:pt x="281" y="146"/>
                  </a:lnTo>
                  <a:lnTo>
                    <a:pt x="253" y="155"/>
                  </a:lnTo>
                  <a:lnTo>
                    <a:pt x="228" y="166"/>
                  </a:lnTo>
                  <a:lnTo>
                    <a:pt x="208" y="183"/>
                  </a:lnTo>
                  <a:lnTo>
                    <a:pt x="191" y="203"/>
                  </a:lnTo>
                  <a:lnTo>
                    <a:pt x="179" y="225"/>
                  </a:lnTo>
                  <a:lnTo>
                    <a:pt x="169" y="251"/>
                  </a:lnTo>
                  <a:lnTo>
                    <a:pt x="161" y="279"/>
                  </a:lnTo>
                  <a:lnTo>
                    <a:pt x="155" y="307"/>
                  </a:lnTo>
                  <a:lnTo>
                    <a:pt x="152" y="336"/>
                  </a:lnTo>
                  <a:lnTo>
                    <a:pt x="151" y="366"/>
                  </a:lnTo>
                  <a:lnTo>
                    <a:pt x="151" y="397"/>
                  </a:lnTo>
                  <a:lnTo>
                    <a:pt x="151" y="758"/>
                  </a:lnTo>
                  <a:lnTo>
                    <a:pt x="0" y="758"/>
                  </a:lnTo>
                  <a:lnTo>
                    <a:pt x="0" y="22"/>
                  </a:lnTo>
                  <a:lnTo>
                    <a:pt x="151" y="22"/>
                  </a:lnTo>
                  <a:lnTo>
                    <a:pt x="151" y="131"/>
                  </a:lnTo>
                  <a:lnTo>
                    <a:pt x="173" y="93"/>
                  </a:lnTo>
                  <a:lnTo>
                    <a:pt x="200" y="60"/>
                  </a:lnTo>
                  <a:lnTo>
                    <a:pt x="231" y="34"/>
                  </a:lnTo>
                  <a:lnTo>
                    <a:pt x="266" y="16"/>
                  </a:lnTo>
                  <a:lnTo>
                    <a:pt x="306" y="4"/>
                  </a:lnTo>
                  <a:lnTo>
                    <a:pt x="3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5" name="Freeform 9"/>
            <p:cNvSpPr>
              <a:spLocks noEditPoints="1"/>
            </p:cNvSpPr>
            <p:nvPr userDrawn="1"/>
          </p:nvSpPr>
          <p:spPr bwMode="auto">
            <a:xfrm>
              <a:off x="444" y="1163"/>
              <a:ext cx="747" cy="1156"/>
            </a:xfrm>
            <a:custGeom>
              <a:avLst/>
              <a:gdLst>
                <a:gd name="T0" fmla="*/ 300 w 747"/>
                <a:gd name="T1" fmla="*/ 144 h 1156"/>
                <a:gd name="T2" fmla="*/ 211 w 747"/>
                <a:gd name="T3" fmla="*/ 199 h 1156"/>
                <a:gd name="T4" fmla="*/ 154 w 747"/>
                <a:gd name="T5" fmla="*/ 299 h 1156"/>
                <a:gd name="T6" fmla="*/ 143 w 747"/>
                <a:gd name="T7" fmla="*/ 425 h 1156"/>
                <a:gd name="T8" fmla="*/ 171 w 747"/>
                <a:gd name="T9" fmla="*/ 525 h 1156"/>
                <a:gd name="T10" fmla="*/ 233 w 747"/>
                <a:gd name="T11" fmla="*/ 603 h 1156"/>
                <a:gd name="T12" fmla="*/ 328 w 747"/>
                <a:gd name="T13" fmla="*/ 646 h 1156"/>
                <a:gd name="T14" fmla="*/ 428 w 747"/>
                <a:gd name="T15" fmla="*/ 640 h 1156"/>
                <a:gd name="T16" fmla="*/ 512 w 747"/>
                <a:gd name="T17" fmla="*/ 597 h 1156"/>
                <a:gd name="T18" fmla="*/ 573 w 747"/>
                <a:gd name="T19" fmla="*/ 515 h 1156"/>
                <a:gd name="T20" fmla="*/ 596 w 747"/>
                <a:gd name="T21" fmla="*/ 389 h 1156"/>
                <a:gd name="T22" fmla="*/ 567 w 747"/>
                <a:gd name="T23" fmla="*/ 256 h 1156"/>
                <a:gd name="T24" fmla="*/ 486 w 747"/>
                <a:gd name="T25" fmla="*/ 166 h 1156"/>
                <a:gd name="T26" fmla="*/ 366 w 747"/>
                <a:gd name="T27" fmla="*/ 134 h 1156"/>
                <a:gd name="T28" fmla="*/ 443 w 747"/>
                <a:gd name="T29" fmla="*/ 16 h 1156"/>
                <a:gd name="T30" fmla="*/ 565 w 747"/>
                <a:gd name="T31" fmla="*/ 97 h 1156"/>
                <a:gd name="T32" fmla="*/ 747 w 747"/>
                <a:gd name="T33" fmla="*/ 22 h 1156"/>
                <a:gd name="T34" fmla="*/ 746 w 747"/>
                <a:gd name="T35" fmla="*/ 793 h 1156"/>
                <a:gd name="T36" fmla="*/ 731 w 747"/>
                <a:gd name="T37" fmla="*/ 901 h 1156"/>
                <a:gd name="T38" fmla="*/ 695 w 747"/>
                <a:gd name="T39" fmla="*/ 1000 h 1156"/>
                <a:gd name="T40" fmla="*/ 632 w 747"/>
                <a:gd name="T41" fmla="*/ 1081 h 1156"/>
                <a:gd name="T42" fmla="*/ 533 w 747"/>
                <a:gd name="T43" fmla="*/ 1135 h 1156"/>
                <a:gd name="T44" fmla="*/ 388 w 747"/>
                <a:gd name="T45" fmla="*/ 1156 h 1156"/>
                <a:gd name="T46" fmla="*/ 233 w 747"/>
                <a:gd name="T47" fmla="*/ 1128 h 1156"/>
                <a:gd name="T48" fmla="*/ 117 w 747"/>
                <a:gd name="T49" fmla="*/ 1048 h 1156"/>
                <a:gd name="T50" fmla="*/ 47 w 747"/>
                <a:gd name="T51" fmla="*/ 924 h 1156"/>
                <a:gd name="T52" fmla="*/ 32 w 747"/>
                <a:gd name="T53" fmla="*/ 817 h 1156"/>
                <a:gd name="T54" fmla="*/ 186 w 747"/>
                <a:gd name="T55" fmla="*/ 861 h 1156"/>
                <a:gd name="T56" fmla="*/ 227 w 747"/>
                <a:gd name="T57" fmla="*/ 957 h 1156"/>
                <a:gd name="T58" fmla="*/ 314 w 747"/>
                <a:gd name="T59" fmla="*/ 1011 h 1156"/>
                <a:gd name="T60" fmla="*/ 433 w 747"/>
                <a:gd name="T61" fmla="*/ 1020 h 1156"/>
                <a:gd name="T62" fmla="*/ 520 w 747"/>
                <a:gd name="T63" fmla="*/ 988 h 1156"/>
                <a:gd name="T64" fmla="*/ 570 w 747"/>
                <a:gd name="T65" fmla="*/ 927 h 1156"/>
                <a:gd name="T66" fmla="*/ 592 w 747"/>
                <a:gd name="T67" fmla="*/ 849 h 1156"/>
                <a:gd name="T68" fmla="*/ 598 w 747"/>
                <a:gd name="T69" fmla="*/ 761 h 1156"/>
                <a:gd name="T70" fmla="*/ 529 w 747"/>
                <a:gd name="T71" fmla="*/ 722 h 1156"/>
                <a:gd name="T72" fmla="*/ 400 w 747"/>
                <a:gd name="T73" fmla="*/ 778 h 1156"/>
                <a:gd name="T74" fmla="*/ 251 w 747"/>
                <a:gd name="T75" fmla="*/ 768 h 1156"/>
                <a:gd name="T76" fmla="*/ 125 w 747"/>
                <a:gd name="T77" fmla="*/ 699 h 1156"/>
                <a:gd name="T78" fmla="*/ 41 w 747"/>
                <a:gd name="T79" fmla="*/ 582 h 1156"/>
                <a:gd name="T80" fmla="*/ 3 w 747"/>
                <a:gd name="T81" fmla="*/ 438 h 1156"/>
                <a:gd name="T82" fmla="*/ 10 w 747"/>
                <a:gd name="T83" fmla="*/ 286 h 1156"/>
                <a:gd name="T84" fmla="*/ 65 w 747"/>
                <a:gd name="T85" fmla="*/ 155 h 1156"/>
                <a:gd name="T86" fmla="*/ 165 w 747"/>
                <a:gd name="T87" fmla="*/ 53 h 1156"/>
                <a:gd name="T88" fmla="*/ 298 w 747"/>
                <a:gd name="T89" fmla="*/ 4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47" h="1156">
                  <a:moveTo>
                    <a:pt x="366" y="134"/>
                  </a:moveTo>
                  <a:lnTo>
                    <a:pt x="332" y="137"/>
                  </a:lnTo>
                  <a:lnTo>
                    <a:pt x="300" y="144"/>
                  </a:lnTo>
                  <a:lnTo>
                    <a:pt x="269" y="158"/>
                  </a:lnTo>
                  <a:lnTo>
                    <a:pt x="239" y="175"/>
                  </a:lnTo>
                  <a:lnTo>
                    <a:pt x="211" y="199"/>
                  </a:lnTo>
                  <a:lnTo>
                    <a:pt x="189" y="227"/>
                  </a:lnTo>
                  <a:lnTo>
                    <a:pt x="168" y="261"/>
                  </a:lnTo>
                  <a:lnTo>
                    <a:pt x="154" y="299"/>
                  </a:lnTo>
                  <a:lnTo>
                    <a:pt x="145" y="342"/>
                  </a:lnTo>
                  <a:lnTo>
                    <a:pt x="142" y="389"/>
                  </a:lnTo>
                  <a:lnTo>
                    <a:pt x="143" y="425"/>
                  </a:lnTo>
                  <a:lnTo>
                    <a:pt x="149" y="458"/>
                  </a:lnTo>
                  <a:lnTo>
                    <a:pt x="158" y="492"/>
                  </a:lnTo>
                  <a:lnTo>
                    <a:pt x="171" y="525"/>
                  </a:lnTo>
                  <a:lnTo>
                    <a:pt x="189" y="553"/>
                  </a:lnTo>
                  <a:lnTo>
                    <a:pt x="210" y="579"/>
                  </a:lnTo>
                  <a:lnTo>
                    <a:pt x="233" y="603"/>
                  </a:lnTo>
                  <a:lnTo>
                    <a:pt x="261" y="622"/>
                  </a:lnTo>
                  <a:lnTo>
                    <a:pt x="292" y="635"/>
                  </a:lnTo>
                  <a:lnTo>
                    <a:pt x="328" y="646"/>
                  </a:lnTo>
                  <a:lnTo>
                    <a:pt x="366" y="649"/>
                  </a:lnTo>
                  <a:lnTo>
                    <a:pt x="397" y="646"/>
                  </a:lnTo>
                  <a:lnTo>
                    <a:pt x="428" y="640"/>
                  </a:lnTo>
                  <a:lnTo>
                    <a:pt x="458" y="630"/>
                  </a:lnTo>
                  <a:lnTo>
                    <a:pt x="486" y="616"/>
                  </a:lnTo>
                  <a:lnTo>
                    <a:pt x="512" y="597"/>
                  </a:lnTo>
                  <a:lnTo>
                    <a:pt x="536" y="574"/>
                  </a:lnTo>
                  <a:lnTo>
                    <a:pt x="557" y="547"/>
                  </a:lnTo>
                  <a:lnTo>
                    <a:pt x="573" y="515"/>
                  </a:lnTo>
                  <a:lnTo>
                    <a:pt x="586" y="478"/>
                  </a:lnTo>
                  <a:lnTo>
                    <a:pt x="593" y="436"/>
                  </a:lnTo>
                  <a:lnTo>
                    <a:pt x="596" y="389"/>
                  </a:lnTo>
                  <a:lnTo>
                    <a:pt x="593" y="342"/>
                  </a:lnTo>
                  <a:lnTo>
                    <a:pt x="583" y="296"/>
                  </a:lnTo>
                  <a:lnTo>
                    <a:pt x="567" y="256"/>
                  </a:lnTo>
                  <a:lnTo>
                    <a:pt x="545" y="221"/>
                  </a:lnTo>
                  <a:lnTo>
                    <a:pt x="518" y="192"/>
                  </a:lnTo>
                  <a:lnTo>
                    <a:pt x="486" y="166"/>
                  </a:lnTo>
                  <a:lnTo>
                    <a:pt x="450" y="149"/>
                  </a:lnTo>
                  <a:lnTo>
                    <a:pt x="410" y="138"/>
                  </a:lnTo>
                  <a:lnTo>
                    <a:pt x="366" y="134"/>
                  </a:lnTo>
                  <a:close/>
                  <a:moveTo>
                    <a:pt x="347" y="0"/>
                  </a:moveTo>
                  <a:lnTo>
                    <a:pt x="396" y="4"/>
                  </a:lnTo>
                  <a:lnTo>
                    <a:pt x="443" y="16"/>
                  </a:lnTo>
                  <a:lnTo>
                    <a:pt x="487" y="35"/>
                  </a:lnTo>
                  <a:lnTo>
                    <a:pt x="529" y="63"/>
                  </a:lnTo>
                  <a:lnTo>
                    <a:pt x="565" y="97"/>
                  </a:lnTo>
                  <a:lnTo>
                    <a:pt x="598" y="138"/>
                  </a:lnTo>
                  <a:lnTo>
                    <a:pt x="598" y="22"/>
                  </a:lnTo>
                  <a:lnTo>
                    <a:pt x="747" y="22"/>
                  </a:lnTo>
                  <a:lnTo>
                    <a:pt x="747" y="722"/>
                  </a:lnTo>
                  <a:lnTo>
                    <a:pt x="747" y="758"/>
                  </a:lnTo>
                  <a:lnTo>
                    <a:pt x="746" y="793"/>
                  </a:lnTo>
                  <a:lnTo>
                    <a:pt x="743" y="830"/>
                  </a:lnTo>
                  <a:lnTo>
                    <a:pt x="738" y="865"/>
                  </a:lnTo>
                  <a:lnTo>
                    <a:pt x="731" y="901"/>
                  </a:lnTo>
                  <a:lnTo>
                    <a:pt x="722" y="936"/>
                  </a:lnTo>
                  <a:lnTo>
                    <a:pt x="710" y="969"/>
                  </a:lnTo>
                  <a:lnTo>
                    <a:pt x="695" y="1000"/>
                  </a:lnTo>
                  <a:lnTo>
                    <a:pt x="678" y="1029"/>
                  </a:lnTo>
                  <a:lnTo>
                    <a:pt x="657" y="1056"/>
                  </a:lnTo>
                  <a:lnTo>
                    <a:pt x="632" y="1081"/>
                  </a:lnTo>
                  <a:lnTo>
                    <a:pt x="604" y="1103"/>
                  </a:lnTo>
                  <a:lnTo>
                    <a:pt x="570" y="1121"/>
                  </a:lnTo>
                  <a:lnTo>
                    <a:pt x="533" y="1135"/>
                  </a:lnTo>
                  <a:lnTo>
                    <a:pt x="490" y="1147"/>
                  </a:lnTo>
                  <a:lnTo>
                    <a:pt x="441" y="1155"/>
                  </a:lnTo>
                  <a:lnTo>
                    <a:pt x="388" y="1156"/>
                  </a:lnTo>
                  <a:lnTo>
                    <a:pt x="334" y="1153"/>
                  </a:lnTo>
                  <a:lnTo>
                    <a:pt x="281" y="1143"/>
                  </a:lnTo>
                  <a:lnTo>
                    <a:pt x="233" y="1128"/>
                  </a:lnTo>
                  <a:lnTo>
                    <a:pt x="189" y="1106"/>
                  </a:lnTo>
                  <a:lnTo>
                    <a:pt x="151" y="1079"/>
                  </a:lnTo>
                  <a:lnTo>
                    <a:pt x="117" y="1048"/>
                  </a:lnTo>
                  <a:lnTo>
                    <a:pt x="89" y="1011"/>
                  </a:lnTo>
                  <a:lnTo>
                    <a:pt x="65" y="970"/>
                  </a:lnTo>
                  <a:lnTo>
                    <a:pt x="47" y="924"/>
                  </a:lnTo>
                  <a:lnTo>
                    <a:pt x="37" y="876"/>
                  </a:lnTo>
                  <a:lnTo>
                    <a:pt x="32" y="823"/>
                  </a:lnTo>
                  <a:lnTo>
                    <a:pt x="32" y="817"/>
                  </a:lnTo>
                  <a:lnTo>
                    <a:pt x="183" y="817"/>
                  </a:lnTo>
                  <a:lnTo>
                    <a:pt x="183" y="823"/>
                  </a:lnTo>
                  <a:lnTo>
                    <a:pt x="186" y="861"/>
                  </a:lnTo>
                  <a:lnTo>
                    <a:pt x="193" y="898"/>
                  </a:lnTo>
                  <a:lnTo>
                    <a:pt x="208" y="929"/>
                  </a:lnTo>
                  <a:lnTo>
                    <a:pt x="227" y="957"/>
                  </a:lnTo>
                  <a:lnTo>
                    <a:pt x="252" y="979"/>
                  </a:lnTo>
                  <a:lnTo>
                    <a:pt x="282" y="998"/>
                  </a:lnTo>
                  <a:lnTo>
                    <a:pt x="314" y="1011"/>
                  </a:lnTo>
                  <a:lnTo>
                    <a:pt x="353" y="1019"/>
                  </a:lnTo>
                  <a:lnTo>
                    <a:pt x="394" y="1022"/>
                  </a:lnTo>
                  <a:lnTo>
                    <a:pt x="433" y="1020"/>
                  </a:lnTo>
                  <a:lnTo>
                    <a:pt x="467" y="1013"/>
                  </a:lnTo>
                  <a:lnTo>
                    <a:pt x="496" y="1003"/>
                  </a:lnTo>
                  <a:lnTo>
                    <a:pt x="520" y="988"/>
                  </a:lnTo>
                  <a:lnTo>
                    <a:pt x="540" y="972"/>
                  </a:lnTo>
                  <a:lnTo>
                    <a:pt x="557" y="951"/>
                  </a:lnTo>
                  <a:lnTo>
                    <a:pt x="570" y="927"/>
                  </a:lnTo>
                  <a:lnTo>
                    <a:pt x="579" y="904"/>
                  </a:lnTo>
                  <a:lnTo>
                    <a:pt x="588" y="877"/>
                  </a:lnTo>
                  <a:lnTo>
                    <a:pt x="592" y="849"/>
                  </a:lnTo>
                  <a:lnTo>
                    <a:pt x="595" y="820"/>
                  </a:lnTo>
                  <a:lnTo>
                    <a:pt x="596" y="790"/>
                  </a:lnTo>
                  <a:lnTo>
                    <a:pt x="598" y="761"/>
                  </a:lnTo>
                  <a:lnTo>
                    <a:pt x="598" y="650"/>
                  </a:lnTo>
                  <a:lnTo>
                    <a:pt x="565" y="690"/>
                  </a:lnTo>
                  <a:lnTo>
                    <a:pt x="529" y="722"/>
                  </a:lnTo>
                  <a:lnTo>
                    <a:pt x="489" y="748"/>
                  </a:lnTo>
                  <a:lnTo>
                    <a:pt x="446" y="767"/>
                  </a:lnTo>
                  <a:lnTo>
                    <a:pt x="400" y="778"/>
                  </a:lnTo>
                  <a:lnTo>
                    <a:pt x="353" y="783"/>
                  </a:lnTo>
                  <a:lnTo>
                    <a:pt x="301" y="778"/>
                  </a:lnTo>
                  <a:lnTo>
                    <a:pt x="251" y="768"/>
                  </a:lnTo>
                  <a:lnTo>
                    <a:pt x="207" y="752"/>
                  </a:lnTo>
                  <a:lnTo>
                    <a:pt x="164" y="728"/>
                  </a:lnTo>
                  <a:lnTo>
                    <a:pt x="125" y="699"/>
                  </a:lnTo>
                  <a:lnTo>
                    <a:pt x="92" y="662"/>
                  </a:lnTo>
                  <a:lnTo>
                    <a:pt x="63" y="624"/>
                  </a:lnTo>
                  <a:lnTo>
                    <a:pt x="41" y="582"/>
                  </a:lnTo>
                  <a:lnTo>
                    <a:pt x="24" y="537"/>
                  </a:lnTo>
                  <a:lnTo>
                    <a:pt x="10" y="488"/>
                  </a:lnTo>
                  <a:lnTo>
                    <a:pt x="3" y="438"/>
                  </a:lnTo>
                  <a:lnTo>
                    <a:pt x="0" y="385"/>
                  </a:lnTo>
                  <a:lnTo>
                    <a:pt x="3" y="335"/>
                  </a:lnTo>
                  <a:lnTo>
                    <a:pt x="10" y="286"/>
                  </a:lnTo>
                  <a:lnTo>
                    <a:pt x="24" y="240"/>
                  </a:lnTo>
                  <a:lnTo>
                    <a:pt x="43" y="196"/>
                  </a:lnTo>
                  <a:lnTo>
                    <a:pt x="65" y="155"/>
                  </a:lnTo>
                  <a:lnTo>
                    <a:pt x="93" y="118"/>
                  </a:lnTo>
                  <a:lnTo>
                    <a:pt x="127" y="82"/>
                  </a:lnTo>
                  <a:lnTo>
                    <a:pt x="165" y="53"/>
                  </a:lnTo>
                  <a:lnTo>
                    <a:pt x="207" y="31"/>
                  </a:lnTo>
                  <a:lnTo>
                    <a:pt x="251" y="13"/>
                  </a:lnTo>
                  <a:lnTo>
                    <a:pt x="298" y="4"/>
                  </a:lnTo>
                  <a:lnTo>
                    <a:pt x="3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6" name="Freeform 10"/>
            <p:cNvSpPr>
              <a:spLocks/>
            </p:cNvSpPr>
            <p:nvPr userDrawn="1"/>
          </p:nvSpPr>
          <p:spPr bwMode="auto">
            <a:xfrm>
              <a:off x="3955" y="928"/>
              <a:ext cx="1358" cy="760"/>
            </a:xfrm>
            <a:custGeom>
              <a:avLst/>
              <a:gdLst>
                <a:gd name="T0" fmla="*/ 190 w 1358"/>
                <a:gd name="T1" fmla="*/ 3 h 760"/>
                <a:gd name="T2" fmla="*/ 257 w 1358"/>
                <a:gd name="T3" fmla="*/ 21 h 760"/>
                <a:gd name="T4" fmla="*/ 305 w 1358"/>
                <a:gd name="T5" fmla="*/ 55 h 760"/>
                <a:gd name="T6" fmla="*/ 367 w 1358"/>
                <a:gd name="T7" fmla="*/ 46 h 760"/>
                <a:gd name="T8" fmla="*/ 463 w 1358"/>
                <a:gd name="T9" fmla="*/ 11 h 760"/>
                <a:gd name="T10" fmla="*/ 552 w 1358"/>
                <a:gd name="T11" fmla="*/ 9 h 760"/>
                <a:gd name="T12" fmla="*/ 614 w 1358"/>
                <a:gd name="T13" fmla="*/ 27 h 760"/>
                <a:gd name="T14" fmla="*/ 661 w 1358"/>
                <a:gd name="T15" fmla="*/ 64 h 760"/>
                <a:gd name="T16" fmla="*/ 719 w 1358"/>
                <a:gd name="T17" fmla="*/ 59 h 760"/>
                <a:gd name="T18" fmla="*/ 804 w 1358"/>
                <a:gd name="T19" fmla="*/ 20 h 760"/>
                <a:gd name="T20" fmla="*/ 894 w 1358"/>
                <a:gd name="T21" fmla="*/ 6 h 760"/>
                <a:gd name="T22" fmla="*/ 971 w 1358"/>
                <a:gd name="T23" fmla="*/ 17 h 760"/>
                <a:gd name="T24" fmla="*/ 1030 w 1358"/>
                <a:gd name="T25" fmla="*/ 48 h 760"/>
                <a:gd name="T26" fmla="*/ 1070 w 1358"/>
                <a:gd name="T27" fmla="*/ 95 h 760"/>
                <a:gd name="T28" fmla="*/ 1088 w 1358"/>
                <a:gd name="T29" fmla="*/ 158 h 760"/>
                <a:gd name="T30" fmla="*/ 1086 w 1358"/>
                <a:gd name="T31" fmla="*/ 235 h 760"/>
                <a:gd name="T32" fmla="*/ 1038 w 1358"/>
                <a:gd name="T33" fmla="*/ 465 h 760"/>
                <a:gd name="T34" fmla="*/ 1029 w 1358"/>
                <a:gd name="T35" fmla="*/ 530 h 760"/>
                <a:gd name="T36" fmla="*/ 1045 w 1358"/>
                <a:gd name="T37" fmla="*/ 574 h 760"/>
                <a:gd name="T38" fmla="*/ 1079 w 1358"/>
                <a:gd name="T39" fmla="*/ 598 h 760"/>
                <a:gd name="T40" fmla="*/ 1132 w 1358"/>
                <a:gd name="T41" fmla="*/ 605 h 760"/>
                <a:gd name="T42" fmla="*/ 1202 w 1358"/>
                <a:gd name="T43" fmla="*/ 598 h 760"/>
                <a:gd name="T44" fmla="*/ 1281 w 1358"/>
                <a:gd name="T45" fmla="*/ 574 h 760"/>
                <a:gd name="T46" fmla="*/ 1358 w 1358"/>
                <a:gd name="T47" fmla="*/ 543 h 760"/>
                <a:gd name="T48" fmla="*/ 1318 w 1358"/>
                <a:gd name="T49" fmla="*/ 705 h 760"/>
                <a:gd name="T50" fmla="*/ 1207 w 1358"/>
                <a:gd name="T51" fmla="*/ 745 h 760"/>
                <a:gd name="T52" fmla="*/ 1098 w 1358"/>
                <a:gd name="T53" fmla="*/ 760 h 760"/>
                <a:gd name="T54" fmla="*/ 1017 w 1358"/>
                <a:gd name="T55" fmla="*/ 751 h 760"/>
                <a:gd name="T56" fmla="*/ 951 w 1358"/>
                <a:gd name="T57" fmla="*/ 724 h 760"/>
                <a:gd name="T58" fmla="*/ 900 w 1358"/>
                <a:gd name="T59" fmla="*/ 682 h 760"/>
                <a:gd name="T60" fmla="*/ 866 w 1358"/>
                <a:gd name="T61" fmla="*/ 614 h 760"/>
                <a:gd name="T62" fmla="*/ 861 w 1358"/>
                <a:gd name="T63" fmla="*/ 528 h 760"/>
                <a:gd name="T64" fmla="*/ 915 w 1358"/>
                <a:gd name="T65" fmla="*/ 275 h 760"/>
                <a:gd name="T66" fmla="*/ 923 w 1358"/>
                <a:gd name="T67" fmla="*/ 213 h 760"/>
                <a:gd name="T68" fmla="*/ 911 w 1358"/>
                <a:gd name="T69" fmla="*/ 173 h 760"/>
                <a:gd name="T70" fmla="*/ 878 w 1358"/>
                <a:gd name="T71" fmla="*/ 154 h 760"/>
                <a:gd name="T72" fmla="*/ 822 w 1358"/>
                <a:gd name="T73" fmla="*/ 155 h 760"/>
                <a:gd name="T74" fmla="*/ 762 w 1358"/>
                <a:gd name="T75" fmla="*/ 183 h 760"/>
                <a:gd name="T76" fmla="*/ 714 w 1358"/>
                <a:gd name="T77" fmla="*/ 235 h 760"/>
                <a:gd name="T78" fmla="*/ 686 w 1358"/>
                <a:gd name="T79" fmla="*/ 304 h 760"/>
                <a:gd name="T80" fmla="*/ 444 w 1358"/>
                <a:gd name="T81" fmla="*/ 637 h 760"/>
                <a:gd name="T82" fmla="*/ 534 w 1358"/>
                <a:gd name="T83" fmla="*/ 241 h 760"/>
                <a:gd name="T84" fmla="*/ 531 w 1358"/>
                <a:gd name="T85" fmla="*/ 189 h 760"/>
                <a:gd name="T86" fmla="*/ 509 w 1358"/>
                <a:gd name="T87" fmla="*/ 161 h 760"/>
                <a:gd name="T88" fmla="*/ 469 w 1358"/>
                <a:gd name="T89" fmla="*/ 151 h 760"/>
                <a:gd name="T90" fmla="*/ 401 w 1358"/>
                <a:gd name="T91" fmla="*/ 167 h 760"/>
                <a:gd name="T92" fmla="*/ 345 w 1358"/>
                <a:gd name="T93" fmla="*/ 217 h 760"/>
                <a:gd name="T94" fmla="*/ 302 w 1358"/>
                <a:gd name="T95" fmla="*/ 300 h 760"/>
                <a:gd name="T96" fmla="*/ 220 w 1358"/>
                <a:gd name="T97" fmla="*/ 637 h 760"/>
                <a:gd name="T98" fmla="*/ 153 w 1358"/>
                <a:gd name="T99" fmla="*/ 233 h 760"/>
                <a:gd name="T100" fmla="*/ 158 w 1358"/>
                <a:gd name="T101" fmla="*/ 188 h 760"/>
                <a:gd name="T102" fmla="*/ 144 w 1358"/>
                <a:gd name="T103" fmla="*/ 155 h 760"/>
                <a:gd name="T104" fmla="*/ 112 w 1358"/>
                <a:gd name="T105" fmla="*/ 138 h 760"/>
                <a:gd name="T106" fmla="*/ 63 w 1358"/>
                <a:gd name="T107" fmla="*/ 140 h 760"/>
                <a:gd name="T108" fmla="*/ 0 w 1358"/>
                <a:gd name="T109" fmla="*/ 166 h 760"/>
                <a:gd name="T110" fmla="*/ 40 w 1358"/>
                <a:gd name="T111" fmla="*/ 21 h 760"/>
                <a:gd name="T112" fmla="*/ 153 w 1358"/>
                <a:gd name="T113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58" h="760">
                  <a:moveTo>
                    <a:pt x="153" y="0"/>
                  </a:moveTo>
                  <a:lnTo>
                    <a:pt x="190" y="3"/>
                  </a:lnTo>
                  <a:lnTo>
                    <a:pt x="226" y="11"/>
                  </a:lnTo>
                  <a:lnTo>
                    <a:pt x="257" y="21"/>
                  </a:lnTo>
                  <a:lnTo>
                    <a:pt x="283" y="37"/>
                  </a:lnTo>
                  <a:lnTo>
                    <a:pt x="305" y="55"/>
                  </a:lnTo>
                  <a:lnTo>
                    <a:pt x="320" y="77"/>
                  </a:lnTo>
                  <a:lnTo>
                    <a:pt x="367" y="46"/>
                  </a:lnTo>
                  <a:lnTo>
                    <a:pt x="415" y="24"/>
                  </a:lnTo>
                  <a:lnTo>
                    <a:pt x="463" y="11"/>
                  </a:lnTo>
                  <a:lnTo>
                    <a:pt x="514" y="6"/>
                  </a:lnTo>
                  <a:lnTo>
                    <a:pt x="552" y="9"/>
                  </a:lnTo>
                  <a:lnTo>
                    <a:pt x="584" y="15"/>
                  </a:lnTo>
                  <a:lnTo>
                    <a:pt x="614" y="27"/>
                  </a:lnTo>
                  <a:lnTo>
                    <a:pt x="639" y="43"/>
                  </a:lnTo>
                  <a:lnTo>
                    <a:pt x="661" y="64"/>
                  </a:lnTo>
                  <a:lnTo>
                    <a:pt x="677" y="89"/>
                  </a:lnTo>
                  <a:lnTo>
                    <a:pt x="719" y="59"/>
                  </a:lnTo>
                  <a:lnTo>
                    <a:pt x="762" y="36"/>
                  </a:lnTo>
                  <a:lnTo>
                    <a:pt x="804" y="20"/>
                  </a:lnTo>
                  <a:lnTo>
                    <a:pt x="849" y="9"/>
                  </a:lnTo>
                  <a:lnTo>
                    <a:pt x="894" y="6"/>
                  </a:lnTo>
                  <a:lnTo>
                    <a:pt x="936" y="9"/>
                  </a:lnTo>
                  <a:lnTo>
                    <a:pt x="971" y="17"/>
                  </a:lnTo>
                  <a:lnTo>
                    <a:pt x="1004" y="30"/>
                  </a:lnTo>
                  <a:lnTo>
                    <a:pt x="1030" y="48"/>
                  </a:lnTo>
                  <a:lnTo>
                    <a:pt x="1052" y="70"/>
                  </a:lnTo>
                  <a:lnTo>
                    <a:pt x="1070" y="95"/>
                  </a:lnTo>
                  <a:lnTo>
                    <a:pt x="1082" y="124"/>
                  </a:lnTo>
                  <a:lnTo>
                    <a:pt x="1088" y="158"/>
                  </a:lnTo>
                  <a:lnTo>
                    <a:pt x="1089" y="195"/>
                  </a:lnTo>
                  <a:lnTo>
                    <a:pt x="1086" y="235"/>
                  </a:lnTo>
                  <a:lnTo>
                    <a:pt x="1079" y="278"/>
                  </a:lnTo>
                  <a:lnTo>
                    <a:pt x="1038" y="465"/>
                  </a:lnTo>
                  <a:lnTo>
                    <a:pt x="1030" y="500"/>
                  </a:lnTo>
                  <a:lnTo>
                    <a:pt x="1029" y="530"/>
                  </a:lnTo>
                  <a:lnTo>
                    <a:pt x="1035" y="555"/>
                  </a:lnTo>
                  <a:lnTo>
                    <a:pt x="1045" y="574"/>
                  </a:lnTo>
                  <a:lnTo>
                    <a:pt x="1058" y="587"/>
                  </a:lnTo>
                  <a:lnTo>
                    <a:pt x="1079" y="598"/>
                  </a:lnTo>
                  <a:lnTo>
                    <a:pt x="1103" y="602"/>
                  </a:lnTo>
                  <a:lnTo>
                    <a:pt x="1132" y="605"/>
                  </a:lnTo>
                  <a:lnTo>
                    <a:pt x="1165" y="602"/>
                  </a:lnTo>
                  <a:lnTo>
                    <a:pt x="1202" y="598"/>
                  </a:lnTo>
                  <a:lnTo>
                    <a:pt x="1240" y="587"/>
                  </a:lnTo>
                  <a:lnTo>
                    <a:pt x="1281" y="574"/>
                  </a:lnTo>
                  <a:lnTo>
                    <a:pt x="1324" y="558"/>
                  </a:lnTo>
                  <a:lnTo>
                    <a:pt x="1358" y="543"/>
                  </a:lnTo>
                  <a:lnTo>
                    <a:pt x="1327" y="701"/>
                  </a:lnTo>
                  <a:lnTo>
                    <a:pt x="1318" y="705"/>
                  </a:lnTo>
                  <a:lnTo>
                    <a:pt x="1264" y="729"/>
                  </a:lnTo>
                  <a:lnTo>
                    <a:pt x="1207" y="745"/>
                  </a:lnTo>
                  <a:lnTo>
                    <a:pt x="1153" y="755"/>
                  </a:lnTo>
                  <a:lnTo>
                    <a:pt x="1098" y="760"/>
                  </a:lnTo>
                  <a:lnTo>
                    <a:pt x="1055" y="757"/>
                  </a:lnTo>
                  <a:lnTo>
                    <a:pt x="1017" y="751"/>
                  </a:lnTo>
                  <a:lnTo>
                    <a:pt x="983" y="739"/>
                  </a:lnTo>
                  <a:lnTo>
                    <a:pt x="951" y="724"/>
                  </a:lnTo>
                  <a:lnTo>
                    <a:pt x="924" y="705"/>
                  </a:lnTo>
                  <a:lnTo>
                    <a:pt x="900" y="682"/>
                  </a:lnTo>
                  <a:lnTo>
                    <a:pt x="880" y="649"/>
                  </a:lnTo>
                  <a:lnTo>
                    <a:pt x="866" y="614"/>
                  </a:lnTo>
                  <a:lnTo>
                    <a:pt x="861" y="573"/>
                  </a:lnTo>
                  <a:lnTo>
                    <a:pt x="861" y="528"/>
                  </a:lnTo>
                  <a:lnTo>
                    <a:pt x="868" y="481"/>
                  </a:lnTo>
                  <a:lnTo>
                    <a:pt x="915" y="275"/>
                  </a:lnTo>
                  <a:lnTo>
                    <a:pt x="921" y="241"/>
                  </a:lnTo>
                  <a:lnTo>
                    <a:pt x="923" y="213"/>
                  </a:lnTo>
                  <a:lnTo>
                    <a:pt x="918" y="191"/>
                  </a:lnTo>
                  <a:lnTo>
                    <a:pt x="911" y="173"/>
                  </a:lnTo>
                  <a:lnTo>
                    <a:pt x="896" y="161"/>
                  </a:lnTo>
                  <a:lnTo>
                    <a:pt x="878" y="154"/>
                  </a:lnTo>
                  <a:lnTo>
                    <a:pt x="855" y="151"/>
                  </a:lnTo>
                  <a:lnTo>
                    <a:pt x="822" y="155"/>
                  </a:lnTo>
                  <a:lnTo>
                    <a:pt x="791" y="166"/>
                  </a:lnTo>
                  <a:lnTo>
                    <a:pt x="762" y="183"/>
                  </a:lnTo>
                  <a:lnTo>
                    <a:pt x="736" y="205"/>
                  </a:lnTo>
                  <a:lnTo>
                    <a:pt x="714" y="235"/>
                  </a:lnTo>
                  <a:lnTo>
                    <a:pt x="698" y="267"/>
                  </a:lnTo>
                  <a:lnTo>
                    <a:pt x="686" y="304"/>
                  </a:lnTo>
                  <a:lnTo>
                    <a:pt x="608" y="637"/>
                  </a:lnTo>
                  <a:lnTo>
                    <a:pt x="444" y="637"/>
                  </a:lnTo>
                  <a:lnTo>
                    <a:pt x="528" y="275"/>
                  </a:lnTo>
                  <a:lnTo>
                    <a:pt x="534" y="241"/>
                  </a:lnTo>
                  <a:lnTo>
                    <a:pt x="536" y="213"/>
                  </a:lnTo>
                  <a:lnTo>
                    <a:pt x="531" y="189"/>
                  </a:lnTo>
                  <a:lnTo>
                    <a:pt x="524" y="173"/>
                  </a:lnTo>
                  <a:lnTo>
                    <a:pt x="509" y="161"/>
                  </a:lnTo>
                  <a:lnTo>
                    <a:pt x="491" y="154"/>
                  </a:lnTo>
                  <a:lnTo>
                    <a:pt x="469" y="151"/>
                  </a:lnTo>
                  <a:lnTo>
                    <a:pt x="434" y="155"/>
                  </a:lnTo>
                  <a:lnTo>
                    <a:pt x="401" y="167"/>
                  </a:lnTo>
                  <a:lnTo>
                    <a:pt x="372" y="188"/>
                  </a:lnTo>
                  <a:lnTo>
                    <a:pt x="345" y="217"/>
                  </a:lnTo>
                  <a:lnTo>
                    <a:pt x="323" y="254"/>
                  </a:lnTo>
                  <a:lnTo>
                    <a:pt x="302" y="300"/>
                  </a:lnTo>
                  <a:lnTo>
                    <a:pt x="286" y="356"/>
                  </a:lnTo>
                  <a:lnTo>
                    <a:pt x="220" y="637"/>
                  </a:lnTo>
                  <a:lnTo>
                    <a:pt x="56" y="637"/>
                  </a:lnTo>
                  <a:lnTo>
                    <a:pt x="153" y="233"/>
                  </a:lnTo>
                  <a:lnTo>
                    <a:pt x="158" y="208"/>
                  </a:lnTo>
                  <a:lnTo>
                    <a:pt x="158" y="188"/>
                  </a:lnTo>
                  <a:lnTo>
                    <a:pt x="153" y="170"/>
                  </a:lnTo>
                  <a:lnTo>
                    <a:pt x="144" y="155"/>
                  </a:lnTo>
                  <a:lnTo>
                    <a:pt x="131" y="143"/>
                  </a:lnTo>
                  <a:lnTo>
                    <a:pt x="112" y="138"/>
                  </a:lnTo>
                  <a:lnTo>
                    <a:pt x="90" y="136"/>
                  </a:lnTo>
                  <a:lnTo>
                    <a:pt x="63" y="140"/>
                  </a:lnTo>
                  <a:lnTo>
                    <a:pt x="35" y="151"/>
                  </a:lnTo>
                  <a:lnTo>
                    <a:pt x="0" y="166"/>
                  </a:lnTo>
                  <a:lnTo>
                    <a:pt x="29" y="25"/>
                  </a:lnTo>
                  <a:lnTo>
                    <a:pt x="40" y="21"/>
                  </a:lnTo>
                  <a:lnTo>
                    <a:pt x="96" y="6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7" name="Freeform 11"/>
            <p:cNvSpPr>
              <a:spLocks noEditPoints="1"/>
            </p:cNvSpPr>
            <p:nvPr userDrawn="1"/>
          </p:nvSpPr>
          <p:spPr bwMode="auto">
            <a:xfrm>
              <a:off x="1671" y="1158"/>
              <a:ext cx="754" cy="788"/>
            </a:xfrm>
            <a:custGeom>
              <a:avLst/>
              <a:gdLst>
                <a:gd name="T0" fmla="*/ 339 w 754"/>
                <a:gd name="T1" fmla="*/ 121 h 788"/>
                <a:gd name="T2" fmla="*/ 276 w 754"/>
                <a:gd name="T3" fmla="*/ 143 h 788"/>
                <a:gd name="T4" fmla="*/ 226 w 754"/>
                <a:gd name="T5" fmla="*/ 183 h 788"/>
                <a:gd name="T6" fmla="*/ 190 w 754"/>
                <a:gd name="T7" fmla="*/ 233 h 788"/>
                <a:gd name="T8" fmla="*/ 167 w 754"/>
                <a:gd name="T9" fmla="*/ 295 h 788"/>
                <a:gd name="T10" fmla="*/ 153 w 754"/>
                <a:gd name="T11" fmla="*/ 394 h 788"/>
                <a:gd name="T12" fmla="*/ 167 w 754"/>
                <a:gd name="T13" fmla="*/ 493 h 788"/>
                <a:gd name="T14" fmla="*/ 190 w 754"/>
                <a:gd name="T15" fmla="*/ 555 h 788"/>
                <a:gd name="T16" fmla="*/ 226 w 754"/>
                <a:gd name="T17" fmla="*/ 607 h 788"/>
                <a:gd name="T18" fmla="*/ 276 w 754"/>
                <a:gd name="T19" fmla="*/ 646 h 788"/>
                <a:gd name="T20" fmla="*/ 339 w 754"/>
                <a:gd name="T21" fmla="*/ 667 h 788"/>
                <a:gd name="T22" fmla="*/ 413 w 754"/>
                <a:gd name="T23" fmla="*/ 667 h 788"/>
                <a:gd name="T24" fmla="*/ 478 w 754"/>
                <a:gd name="T25" fmla="*/ 646 h 788"/>
                <a:gd name="T26" fmla="*/ 528 w 754"/>
                <a:gd name="T27" fmla="*/ 607 h 788"/>
                <a:gd name="T28" fmla="*/ 564 w 754"/>
                <a:gd name="T29" fmla="*/ 555 h 788"/>
                <a:gd name="T30" fmla="*/ 587 w 754"/>
                <a:gd name="T31" fmla="*/ 493 h 788"/>
                <a:gd name="T32" fmla="*/ 601 w 754"/>
                <a:gd name="T33" fmla="*/ 394 h 788"/>
                <a:gd name="T34" fmla="*/ 587 w 754"/>
                <a:gd name="T35" fmla="*/ 295 h 788"/>
                <a:gd name="T36" fmla="*/ 564 w 754"/>
                <a:gd name="T37" fmla="*/ 233 h 788"/>
                <a:gd name="T38" fmla="*/ 528 w 754"/>
                <a:gd name="T39" fmla="*/ 183 h 788"/>
                <a:gd name="T40" fmla="*/ 478 w 754"/>
                <a:gd name="T41" fmla="*/ 143 h 788"/>
                <a:gd name="T42" fmla="*/ 413 w 754"/>
                <a:gd name="T43" fmla="*/ 121 h 788"/>
                <a:gd name="T44" fmla="*/ 376 w 754"/>
                <a:gd name="T45" fmla="*/ 0 h 788"/>
                <a:gd name="T46" fmla="*/ 489 w 754"/>
                <a:gd name="T47" fmla="*/ 14 h 788"/>
                <a:gd name="T48" fmla="*/ 582 w 754"/>
                <a:gd name="T49" fmla="*/ 54 h 788"/>
                <a:gd name="T50" fmla="*/ 655 w 754"/>
                <a:gd name="T51" fmla="*/ 113 h 788"/>
                <a:gd name="T52" fmla="*/ 710 w 754"/>
                <a:gd name="T53" fmla="*/ 191 h 788"/>
                <a:gd name="T54" fmla="*/ 742 w 754"/>
                <a:gd name="T55" fmla="*/ 285 h 788"/>
                <a:gd name="T56" fmla="*/ 754 w 754"/>
                <a:gd name="T57" fmla="*/ 394 h 788"/>
                <a:gd name="T58" fmla="*/ 742 w 754"/>
                <a:gd name="T59" fmla="*/ 503 h 788"/>
                <a:gd name="T60" fmla="*/ 710 w 754"/>
                <a:gd name="T61" fmla="*/ 599 h 788"/>
                <a:gd name="T62" fmla="*/ 655 w 754"/>
                <a:gd name="T63" fmla="*/ 677 h 788"/>
                <a:gd name="T64" fmla="*/ 582 w 754"/>
                <a:gd name="T65" fmla="*/ 736 h 788"/>
                <a:gd name="T66" fmla="*/ 489 w 754"/>
                <a:gd name="T67" fmla="*/ 775 h 788"/>
                <a:gd name="T68" fmla="*/ 376 w 754"/>
                <a:gd name="T69" fmla="*/ 788 h 788"/>
                <a:gd name="T70" fmla="*/ 266 w 754"/>
                <a:gd name="T71" fmla="*/ 775 h 788"/>
                <a:gd name="T72" fmla="*/ 173 w 754"/>
                <a:gd name="T73" fmla="*/ 736 h 788"/>
                <a:gd name="T74" fmla="*/ 99 w 754"/>
                <a:gd name="T75" fmla="*/ 677 h 788"/>
                <a:gd name="T76" fmla="*/ 44 w 754"/>
                <a:gd name="T77" fmla="*/ 599 h 788"/>
                <a:gd name="T78" fmla="*/ 12 w 754"/>
                <a:gd name="T79" fmla="*/ 503 h 788"/>
                <a:gd name="T80" fmla="*/ 0 w 754"/>
                <a:gd name="T81" fmla="*/ 394 h 788"/>
                <a:gd name="T82" fmla="*/ 12 w 754"/>
                <a:gd name="T83" fmla="*/ 285 h 788"/>
                <a:gd name="T84" fmla="*/ 44 w 754"/>
                <a:gd name="T85" fmla="*/ 191 h 788"/>
                <a:gd name="T86" fmla="*/ 99 w 754"/>
                <a:gd name="T87" fmla="*/ 113 h 788"/>
                <a:gd name="T88" fmla="*/ 173 w 754"/>
                <a:gd name="T89" fmla="*/ 54 h 788"/>
                <a:gd name="T90" fmla="*/ 266 w 754"/>
                <a:gd name="T91" fmla="*/ 14 h 788"/>
                <a:gd name="T92" fmla="*/ 376 w 754"/>
                <a:gd name="T93" fmla="*/ 0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54" h="788">
                  <a:moveTo>
                    <a:pt x="376" y="120"/>
                  </a:moveTo>
                  <a:lnTo>
                    <a:pt x="339" y="121"/>
                  </a:lnTo>
                  <a:lnTo>
                    <a:pt x="307" y="130"/>
                  </a:lnTo>
                  <a:lnTo>
                    <a:pt x="276" y="143"/>
                  </a:lnTo>
                  <a:lnTo>
                    <a:pt x="249" y="161"/>
                  </a:lnTo>
                  <a:lnTo>
                    <a:pt x="226" y="183"/>
                  </a:lnTo>
                  <a:lnTo>
                    <a:pt x="207" y="207"/>
                  </a:lnTo>
                  <a:lnTo>
                    <a:pt x="190" y="233"/>
                  </a:lnTo>
                  <a:lnTo>
                    <a:pt x="176" y="263"/>
                  </a:lnTo>
                  <a:lnTo>
                    <a:pt x="167" y="295"/>
                  </a:lnTo>
                  <a:lnTo>
                    <a:pt x="156" y="344"/>
                  </a:lnTo>
                  <a:lnTo>
                    <a:pt x="153" y="394"/>
                  </a:lnTo>
                  <a:lnTo>
                    <a:pt x="156" y="444"/>
                  </a:lnTo>
                  <a:lnTo>
                    <a:pt x="167" y="493"/>
                  </a:lnTo>
                  <a:lnTo>
                    <a:pt x="176" y="525"/>
                  </a:lnTo>
                  <a:lnTo>
                    <a:pt x="190" y="555"/>
                  </a:lnTo>
                  <a:lnTo>
                    <a:pt x="207" y="581"/>
                  </a:lnTo>
                  <a:lnTo>
                    <a:pt x="226" y="607"/>
                  </a:lnTo>
                  <a:lnTo>
                    <a:pt x="249" y="627"/>
                  </a:lnTo>
                  <a:lnTo>
                    <a:pt x="276" y="646"/>
                  </a:lnTo>
                  <a:lnTo>
                    <a:pt x="307" y="660"/>
                  </a:lnTo>
                  <a:lnTo>
                    <a:pt x="339" y="667"/>
                  </a:lnTo>
                  <a:lnTo>
                    <a:pt x="376" y="670"/>
                  </a:lnTo>
                  <a:lnTo>
                    <a:pt x="413" y="667"/>
                  </a:lnTo>
                  <a:lnTo>
                    <a:pt x="447" y="660"/>
                  </a:lnTo>
                  <a:lnTo>
                    <a:pt x="478" y="646"/>
                  </a:lnTo>
                  <a:lnTo>
                    <a:pt x="505" y="627"/>
                  </a:lnTo>
                  <a:lnTo>
                    <a:pt x="528" y="607"/>
                  </a:lnTo>
                  <a:lnTo>
                    <a:pt x="548" y="581"/>
                  </a:lnTo>
                  <a:lnTo>
                    <a:pt x="564" y="555"/>
                  </a:lnTo>
                  <a:lnTo>
                    <a:pt x="577" y="525"/>
                  </a:lnTo>
                  <a:lnTo>
                    <a:pt x="587" y="493"/>
                  </a:lnTo>
                  <a:lnTo>
                    <a:pt x="598" y="444"/>
                  </a:lnTo>
                  <a:lnTo>
                    <a:pt x="601" y="394"/>
                  </a:lnTo>
                  <a:lnTo>
                    <a:pt x="598" y="344"/>
                  </a:lnTo>
                  <a:lnTo>
                    <a:pt x="587" y="295"/>
                  </a:lnTo>
                  <a:lnTo>
                    <a:pt x="577" y="263"/>
                  </a:lnTo>
                  <a:lnTo>
                    <a:pt x="564" y="233"/>
                  </a:lnTo>
                  <a:lnTo>
                    <a:pt x="548" y="207"/>
                  </a:lnTo>
                  <a:lnTo>
                    <a:pt x="528" y="183"/>
                  </a:lnTo>
                  <a:lnTo>
                    <a:pt x="505" y="161"/>
                  </a:lnTo>
                  <a:lnTo>
                    <a:pt x="478" y="143"/>
                  </a:lnTo>
                  <a:lnTo>
                    <a:pt x="447" y="130"/>
                  </a:lnTo>
                  <a:lnTo>
                    <a:pt x="413" y="121"/>
                  </a:lnTo>
                  <a:lnTo>
                    <a:pt x="376" y="120"/>
                  </a:lnTo>
                  <a:close/>
                  <a:moveTo>
                    <a:pt x="376" y="0"/>
                  </a:moveTo>
                  <a:lnTo>
                    <a:pt x="434" y="5"/>
                  </a:lnTo>
                  <a:lnTo>
                    <a:pt x="489" y="14"/>
                  </a:lnTo>
                  <a:lnTo>
                    <a:pt x="537" y="31"/>
                  </a:lnTo>
                  <a:lnTo>
                    <a:pt x="582" y="54"/>
                  </a:lnTo>
                  <a:lnTo>
                    <a:pt x="620" y="80"/>
                  </a:lnTo>
                  <a:lnTo>
                    <a:pt x="655" y="113"/>
                  </a:lnTo>
                  <a:lnTo>
                    <a:pt x="685" y="149"/>
                  </a:lnTo>
                  <a:lnTo>
                    <a:pt x="710" y="191"/>
                  </a:lnTo>
                  <a:lnTo>
                    <a:pt x="729" y="236"/>
                  </a:lnTo>
                  <a:lnTo>
                    <a:pt x="742" y="285"/>
                  </a:lnTo>
                  <a:lnTo>
                    <a:pt x="751" y="338"/>
                  </a:lnTo>
                  <a:lnTo>
                    <a:pt x="754" y="394"/>
                  </a:lnTo>
                  <a:lnTo>
                    <a:pt x="751" y="450"/>
                  </a:lnTo>
                  <a:lnTo>
                    <a:pt x="742" y="503"/>
                  </a:lnTo>
                  <a:lnTo>
                    <a:pt x="729" y="553"/>
                  </a:lnTo>
                  <a:lnTo>
                    <a:pt x="710" y="599"/>
                  </a:lnTo>
                  <a:lnTo>
                    <a:pt x="685" y="640"/>
                  </a:lnTo>
                  <a:lnTo>
                    <a:pt x="655" y="677"/>
                  </a:lnTo>
                  <a:lnTo>
                    <a:pt x="620" y="710"/>
                  </a:lnTo>
                  <a:lnTo>
                    <a:pt x="582" y="736"/>
                  </a:lnTo>
                  <a:lnTo>
                    <a:pt x="537" y="758"/>
                  </a:lnTo>
                  <a:lnTo>
                    <a:pt x="489" y="775"/>
                  </a:lnTo>
                  <a:lnTo>
                    <a:pt x="434" y="785"/>
                  </a:lnTo>
                  <a:lnTo>
                    <a:pt x="376" y="788"/>
                  </a:lnTo>
                  <a:lnTo>
                    <a:pt x="319" y="785"/>
                  </a:lnTo>
                  <a:lnTo>
                    <a:pt x="266" y="775"/>
                  </a:lnTo>
                  <a:lnTo>
                    <a:pt x="217" y="758"/>
                  </a:lnTo>
                  <a:lnTo>
                    <a:pt x="173" y="736"/>
                  </a:lnTo>
                  <a:lnTo>
                    <a:pt x="133" y="710"/>
                  </a:lnTo>
                  <a:lnTo>
                    <a:pt x="99" y="677"/>
                  </a:lnTo>
                  <a:lnTo>
                    <a:pt x="69" y="640"/>
                  </a:lnTo>
                  <a:lnTo>
                    <a:pt x="44" y="599"/>
                  </a:lnTo>
                  <a:lnTo>
                    <a:pt x="25" y="553"/>
                  </a:lnTo>
                  <a:lnTo>
                    <a:pt x="12" y="503"/>
                  </a:lnTo>
                  <a:lnTo>
                    <a:pt x="3" y="450"/>
                  </a:lnTo>
                  <a:lnTo>
                    <a:pt x="0" y="394"/>
                  </a:lnTo>
                  <a:lnTo>
                    <a:pt x="3" y="338"/>
                  </a:lnTo>
                  <a:lnTo>
                    <a:pt x="12" y="285"/>
                  </a:lnTo>
                  <a:lnTo>
                    <a:pt x="25" y="236"/>
                  </a:lnTo>
                  <a:lnTo>
                    <a:pt x="44" y="191"/>
                  </a:lnTo>
                  <a:lnTo>
                    <a:pt x="69" y="149"/>
                  </a:lnTo>
                  <a:lnTo>
                    <a:pt x="99" y="113"/>
                  </a:lnTo>
                  <a:lnTo>
                    <a:pt x="133" y="80"/>
                  </a:lnTo>
                  <a:lnTo>
                    <a:pt x="173" y="54"/>
                  </a:lnTo>
                  <a:lnTo>
                    <a:pt x="217" y="31"/>
                  </a:lnTo>
                  <a:lnTo>
                    <a:pt x="266" y="14"/>
                  </a:lnTo>
                  <a:lnTo>
                    <a:pt x="319" y="5"/>
                  </a:lnTo>
                  <a:lnTo>
                    <a:pt x="3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</p:spTree>
    <p:extLst>
      <p:ext uri="{BB962C8B-B14F-4D97-AF65-F5344CB8AC3E}">
        <p14:creationId xmlns:p14="http://schemas.microsoft.com/office/powerpoint/2010/main" val="28482981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4" r:id="rId1"/>
    <p:sldLayoutId id="2147484305" r:id="rId2"/>
    <p:sldLayoutId id="2147484306" r:id="rId3"/>
    <p:sldLayoutId id="2147484307" r:id="rId4"/>
    <p:sldLayoutId id="2147484308" r:id="rId5"/>
    <p:sldLayoutId id="2147484309" r:id="rId6"/>
    <p:sldLayoutId id="2147484310" r:id="rId7"/>
    <p:sldLayoutId id="2147484311" r:id="rId8"/>
    <p:sldLayoutId id="2147484312" r:id="rId9"/>
    <p:sldLayoutId id="2147484313" r:id="rId10"/>
    <p:sldLayoutId id="2147484314" r:id="rId11"/>
    <p:sldLayoutId id="2147484315" r:id="rId12"/>
    <p:sldLayoutId id="2147484316" r:id="rId13"/>
    <p:sldLayoutId id="2147484317" r:id="rId14"/>
    <p:sldLayoutId id="2147484318" r:id="rId15"/>
    <p:sldLayoutId id="2147484319" r:id="rId16"/>
    <p:sldLayoutId id="2147484320" r:id="rId17"/>
    <p:sldLayoutId id="2147484321" r:id="rId18"/>
    <p:sldLayoutId id="2147484322" r:id="rId19"/>
    <p:sldLayoutId id="2147484323" r:id="rId20"/>
    <p:sldLayoutId id="2147484324" r:id="rId21"/>
    <p:sldLayoutId id="2147484325" r:id="rId22"/>
    <p:sldLayoutId id="2147484326" r:id="rId23"/>
    <p:sldLayoutId id="2147484327" r:id="rId24"/>
    <p:sldLayoutId id="2147484328" r:id="rId25"/>
    <p:sldLayoutId id="2147484329" r:id="rId26"/>
    <p:sldLayoutId id="2147484330" r:id="rId27"/>
    <p:sldLayoutId id="2147484331" r:id="rId28"/>
    <p:sldLayoutId id="2147484332" r:id="rId29"/>
    <p:sldLayoutId id="2147484333" r:id="rId30"/>
    <p:sldLayoutId id="2147484334" r:id="rId31"/>
    <p:sldLayoutId id="2147484335" r:id="rId32"/>
    <p:sldLayoutId id="2147484336" r:id="rId33"/>
    <p:sldLayoutId id="2147484337" r:id="rId34"/>
    <p:sldLayoutId id="2147484338" r:id="rId35"/>
    <p:sldLayoutId id="2147484339" r:id="rId36"/>
    <p:sldLayoutId id="2147484340" r:id="rId37"/>
    <p:sldLayoutId id="2147484341" r:id="rId38"/>
    <p:sldLayoutId id="2147484342" r:id="rId39"/>
    <p:sldLayoutId id="2147484343" r:id="rId40"/>
    <p:sldLayoutId id="2147484344" r:id="rId41"/>
    <p:sldLayoutId id="2147484345" r:id="rId42"/>
    <p:sldLayoutId id="2147484346" r:id="rId43"/>
    <p:sldLayoutId id="2147484347" r:id="rId44"/>
    <p:sldLayoutId id="2147484348" r:id="rId45"/>
    <p:sldLayoutId id="2147484349" r:id="rId46"/>
    <p:sldLayoutId id="2147484350" r:id="rId47"/>
    <p:sldLayoutId id="2147484351" r:id="rId48"/>
  </p:sldLayoutIdLst>
  <p:txStyles>
    <p:titleStyle>
      <a:lvl1pPr algn="l" defTabSz="914378" rtl="0" eaLnBrk="1" latinLnBrk="0" hangingPunct="1">
        <a:spcBef>
          <a:spcPct val="0"/>
        </a:spcBef>
        <a:buNone/>
        <a:defRPr sz="24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8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378" rtl="0" eaLnBrk="1" latinLnBrk="0" hangingPunct="1">
        <a:spcBef>
          <a:spcPct val="20000"/>
        </a:spcBef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378" rtl="0" eaLnBrk="1" latinLnBrk="0" hangingPunct="1">
        <a:spcBef>
          <a:spcPct val="20000"/>
        </a:spcBef>
        <a:buFont typeface="Arial" panose="020B0604020202020204" pitchFamily="34" charset="0"/>
        <a:buNone/>
        <a:defRPr sz="2400" b="1" kern="1200">
          <a:solidFill>
            <a:schemeClr val="accent1"/>
          </a:solidFill>
          <a:latin typeface="+mn-lt"/>
          <a:ea typeface="+mn-ea"/>
          <a:cs typeface="+mn-cs"/>
        </a:defRPr>
      </a:lvl3pPr>
      <a:lvl4pPr marL="176209" indent="-176209" algn="l" defTabSz="914378" rtl="0" eaLnBrk="1" latinLnBrk="0" hangingPunct="1">
        <a:spcBef>
          <a:spcPct val="20000"/>
        </a:spcBef>
        <a:buFont typeface="Arial" panose="020B0604020202020204" pitchFamily="34" charset="0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360354" indent="-184145" algn="l" defTabSz="914378" rtl="0" eaLnBrk="1" latinLnBrk="0" hangingPunct="1">
        <a:spcBef>
          <a:spcPct val="20000"/>
        </a:spcBef>
        <a:buFont typeface="Arial" panose="020B0604020202020204" pitchFamily="34" charset="0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76209" indent="-176209" algn="l" defTabSz="914378" rtl="0" eaLnBrk="1" latinLnBrk="0" hangingPunct="1">
        <a:spcBef>
          <a:spcPts val="1200"/>
        </a:spcBef>
        <a:buFont typeface="+mj-lt"/>
        <a:buAutoNum type="arabicParenR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76209" indent="-176209" algn="l" defTabSz="914378" rtl="0" eaLnBrk="1" latinLnBrk="0" hangingPunct="1">
        <a:spcBef>
          <a:spcPts val="1200"/>
        </a:spcBef>
        <a:buFont typeface="+mj-lt"/>
        <a:buAutoNum type="alphaLcParenR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9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9999" y="519113"/>
            <a:ext cx="8425225" cy="70872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9999" y="1223963"/>
            <a:ext cx="8425225" cy="3562350"/>
          </a:xfrm>
          <a:prstGeom prst="rect">
            <a:avLst/>
          </a:prstGeom>
        </p:spPr>
        <p:txBody>
          <a:bodyPr vert="horz" lIns="0" tIns="0" rIns="0" bIns="0" spcCol="28800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58775" y="356107"/>
            <a:ext cx="1960563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/>
          <p:cNvSpPr>
            <a:spLocks noChangeAspect="1"/>
          </p:cNvSpPr>
          <p:nvPr userDrawn="1"/>
        </p:nvSpPr>
        <p:spPr>
          <a:xfrm>
            <a:off x="4716016" y="3147814"/>
            <a:ext cx="0" cy="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46178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5" r:id="rId1"/>
    <p:sldLayoutId id="2147484356" r:id="rId2"/>
    <p:sldLayoutId id="2147484358" r:id="rId3"/>
    <p:sldLayoutId id="2147484359" r:id="rId4"/>
    <p:sldLayoutId id="2147484360" r:id="rId5"/>
    <p:sldLayoutId id="2147484361" r:id="rId6"/>
    <p:sldLayoutId id="2147484362" r:id="rId7"/>
    <p:sldLayoutId id="2147484363" r:id="rId8"/>
    <p:sldLayoutId id="2147484364" r:id="rId9"/>
    <p:sldLayoutId id="2147484365" r:id="rId10"/>
    <p:sldLayoutId id="2147484366" r:id="rId11"/>
    <p:sldLayoutId id="2147484367" r:id="rId12"/>
    <p:sldLayoutId id="2147484368" r:id="rId13"/>
    <p:sldLayoutId id="2147484369" r:id="rId14"/>
    <p:sldLayoutId id="2147484370" r:id="rId15"/>
    <p:sldLayoutId id="2147484371" r:id="rId16"/>
    <p:sldLayoutId id="2147484372" r:id="rId17"/>
    <p:sldLayoutId id="2147484373" r:id="rId18"/>
    <p:sldLayoutId id="2147484374" r:id="rId19"/>
    <p:sldLayoutId id="2147484375" r:id="rId20"/>
    <p:sldLayoutId id="2147484376" r:id="rId21"/>
    <p:sldLayoutId id="2147484377" r:id="rId22"/>
  </p:sldLayoutIdLst>
  <p:hf sldNum="0" hdr="0" ftr="0" dt="0"/>
  <p:txStyles>
    <p:titleStyle>
      <a:lvl1pPr algn="l" defTabSz="914411" rtl="0" eaLnBrk="1" latinLnBrk="0" hangingPunct="1">
        <a:lnSpc>
          <a:spcPct val="100000"/>
        </a:lnSpc>
        <a:spcBef>
          <a:spcPts val="300"/>
        </a:spcBef>
        <a:buNone/>
        <a:defRPr sz="1600" b="1" kern="1200" cap="none" spc="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-133202" algn="l" defTabSz="914411" rtl="0" eaLnBrk="1" latinLnBrk="0" hangingPunct="1">
        <a:lnSpc>
          <a:spcPct val="100000"/>
        </a:lnSpc>
        <a:spcBef>
          <a:spcPts val="1200"/>
        </a:spcBef>
        <a:buFont typeface="Arial" pitchFamily="34" charset="0"/>
        <a:buNone/>
        <a:defRPr sz="12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625483" rtl="0" eaLnBrk="1" latinLnBrk="0" hangingPunct="1">
        <a:lnSpc>
          <a:spcPct val="100000"/>
        </a:lnSpc>
        <a:spcBef>
          <a:spcPts val="300"/>
        </a:spcBef>
        <a:buClr>
          <a:schemeClr val="tx1"/>
        </a:buClr>
        <a:buFontTx/>
        <a:buNone/>
        <a:defRPr sz="12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160338" indent="-160338" algn="l" defTabSz="914411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Font typeface="Arial" pitchFamily="34" charset="0"/>
        <a:buChar char="•"/>
        <a:defRPr sz="1200" b="0" kern="1200">
          <a:solidFill>
            <a:schemeClr val="tx2"/>
          </a:solidFill>
          <a:latin typeface="+mn-lt"/>
          <a:ea typeface="+mn-ea"/>
          <a:cs typeface="+mn-cs"/>
        </a:defRPr>
      </a:lvl3pPr>
      <a:lvl4pPr marL="314325" indent="-153988" algn="l" defTabSz="914411" rtl="0" eaLnBrk="1" latinLnBrk="0" hangingPunct="1">
        <a:lnSpc>
          <a:spcPct val="100000"/>
        </a:lnSpc>
        <a:spcBef>
          <a:spcPts val="300"/>
        </a:spcBef>
        <a:buFont typeface="Century Gothic" pitchFamily="34" charset="0"/>
        <a:buChar char="−"/>
        <a:defRPr sz="1200" b="0" kern="1200">
          <a:solidFill>
            <a:schemeClr val="tx2"/>
          </a:solidFill>
          <a:latin typeface="+mn-lt"/>
          <a:ea typeface="+mn-ea"/>
          <a:cs typeface="+mn-cs"/>
        </a:defRPr>
      </a:lvl4pPr>
      <a:lvl5pPr marL="515938" indent="-195263" algn="l" defTabSz="914411" rtl="0" eaLnBrk="1" latinLnBrk="0" hangingPunct="1">
        <a:lnSpc>
          <a:spcPct val="100000"/>
        </a:lnSpc>
        <a:spcBef>
          <a:spcPts val="300"/>
        </a:spcBef>
        <a:buFont typeface="Century Gothic" pitchFamily="34" charset="0"/>
        <a:buChar char="−"/>
        <a:defRPr sz="1200" b="0" kern="1200" cap="none" baseline="0">
          <a:solidFill>
            <a:schemeClr val="tx2"/>
          </a:solidFill>
          <a:latin typeface="+mn-lt"/>
          <a:ea typeface="+mn-ea"/>
          <a:cs typeface="+mn-cs"/>
        </a:defRPr>
      </a:lvl5pPr>
      <a:lvl6pPr marL="1983625" indent="-133202" algn="l" defTabSz="914411" rtl="0" eaLnBrk="1" latinLnBrk="0" hangingPunct="1">
        <a:lnSpc>
          <a:spcPct val="100000"/>
        </a:lnSpc>
        <a:spcBef>
          <a:spcPts val="6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983625" indent="-133202" algn="l" defTabSz="914411" rtl="0" eaLnBrk="1" latinLnBrk="0" hangingPunct="1">
        <a:lnSpc>
          <a:spcPct val="100000"/>
        </a:lnSpc>
        <a:spcBef>
          <a:spcPts val="600"/>
        </a:spcBef>
        <a:buFont typeface="Arial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983625" indent="-133202" algn="l" defTabSz="914411" rtl="0" eaLnBrk="1" latinLnBrk="0" hangingPunct="1">
        <a:lnSpc>
          <a:spcPct val="100000"/>
        </a:lnSpc>
        <a:spcBef>
          <a:spcPts val="600"/>
        </a:spcBef>
        <a:buFont typeface="Arial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983625" indent="-133202" algn="l" defTabSz="914411" rtl="0" eaLnBrk="1" latinLnBrk="0" hangingPunct="1">
        <a:lnSpc>
          <a:spcPct val="100000"/>
        </a:lnSpc>
        <a:spcBef>
          <a:spcPts val="600"/>
        </a:spcBef>
        <a:buFont typeface="Arial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GB"/>
      </a:defPPr>
      <a:lvl1pPr marL="0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6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1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7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3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9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34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40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46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26">
          <p15:clr>
            <a:srgbClr val="F26B43"/>
          </p15:clr>
        </p15:guide>
        <p15:guide id="2" pos="5534">
          <p15:clr>
            <a:srgbClr val="F26B43"/>
          </p15:clr>
        </p15:guide>
        <p15:guide id="5" orient="horz" pos="214">
          <p15:clr>
            <a:srgbClr val="F26B43"/>
          </p15:clr>
        </p15:guide>
        <p15:guide id="11" orient="horz" pos="771">
          <p15:clr>
            <a:srgbClr val="F26B43"/>
          </p15:clr>
        </p15:guide>
        <p15:guide id="12" orient="horz" pos="327">
          <p15:clr>
            <a:srgbClr val="F26B43"/>
          </p15:clr>
        </p15:guide>
        <p15:guide id="14" orient="horz" pos="891">
          <p15:clr>
            <a:srgbClr val="F26B43"/>
          </p15:clr>
        </p15:guide>
        <p15:guide id="16" orient="horz" pos="1447">
          <p15:clr>
            <a:srgbClr val="F26B43"/>
          </p15:clr>
        </p15:guide>
        <p15:guide id="18" orient="horz" pos="3016">
          <p15:clr>
            <a:srgbClr val="F26B43"/>
          </p15:clr>
        </p15:guide>
        <p15:guide id="19" orient="horz" pos="1335">
          <p15:clr>
            <a:srgbClr val="F26B43"/>
          </p15:clr>
        </p15:guide>
        <p15:guide id="20" orient="horz" pos="1894">
          <p15:clr>
            <a:srgbClr val="F26B43"/>
          </p15:clr>
        </p15:guide>
        <p15:guide id="21" orient="horz" pos="2012">
          <p15:clr>
            <a:srgbClr val="F26B43"/>
          </p15:clr>
        </p15:guide>
        <p15:guide id="22" orient="horz" pos="2456">
          <p15:clr>
            <a:srgbClr val="F26B43"/>
          </p15:clr>
        </p15:guide>
        <p15:guide id="23" orient="horz" pos="2570">
          <p15:clr>
            <a:srgbClr val="F26B43"/>
          </p15:clr>
        </p15:guide>
        <p15:guide id="24" pos="1461">
          <p15:clr>
            <a:srgbClr val="F26B43"/>
          </p15:clr>
        </p15:guide>
        <p15:guide id="25" pos="1573">
          <p15:clr>
            <a:srgbClr val="F26B43"/>
          </p15:clr>
        </p15:guide>
        <p15:guide id="26" pos="2812">
          <p15:clr>
            <a:srgbClr val="F26B43"/>
          </p15:clr>
        </p15:guide>
        <p15:guide id="27" pos="2938">
          <p15:clr>
            <a:srgbClr val="F26B43"/>
          </p15:clr>
        </p15:guide>
        <p15:guide id="28" pos="4178">
          <p15:clr>
            <a:srgbClr val="F26B43"/>
          </p15:clr>
        </p15:guide>
        <p15:guide id="29" pos="429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1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9999" y="519113"/>
            <a:ext cx="8425225" cy="70872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9999" y="1223963"/>
            <a:ext cx="8425225" cy="3562350"/>
          </a:xfrm>
          <a:prstGeom prst="rect">
            <a:avLst/>
          </a:prstGeom>
        </p:spPr>
        <p:txBody>
          <a:bodyPr vert="horz" lIns="0" tIns="0" rIns="0" bIns="0" spcCol="28800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GB" noProof="0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58775" y="356107"/>
            <a:ext cx="1960563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/>
          <p:cNvSpPr>
            <a:spLocks noChangeAspect="1"/>
          </p:cNvSpPr>
          <p:nvPr userDrawn="1"/>
        </p:nvSpPr>
        <p:spPr>
          <a:xfrm>
            <a:off x="4716016" y="3147814"/>
            <a:ext cx="0" cy="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2117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2" r:id="rId1"/>
    <p:sldLayoutId id="2147484383" r:id="rId2"/>
    <p:sldLayoutId id="2147484384" r:id="rId3"/>
    <p:sldLayoutId id="2147484385" r:id="rId4"/>
    <p:sldLayoutId id="2147484386" r:id="rId5"/>
    <p:sldLayoutId id="2147484387" r:id="rId6"/>
    <p:sldLayoutId id="2147484388" r:id="rId7"/>
    <p:sldLayoutId id="2147484389" r:id="rId8"/>
    <p:sldLayoutId id="2147484390" r:id="rId9"/>
    <p:sldLayoutId id="2147484391" r:id="rId10"/>
    <p:sldLayoutId id="2147484392" r:id="rId11"/>
    <p:sldLayoutId id="2147484393" r:id="rId12"/>
    <p:sldLayoutId id="2147484394" r:id="rId13"/>
    <p:sldLayoutId id="2147484395" r:id="rId14"/>
    <p:sldLayoutId id="2147484396" r:id="rId15"/>
    <p:sldLayoutId id="2147484397" r:id="rId16"/>
    <p:sldLayoutId id="2147484398" r:id="rId17"/>
    <p:sldLayoutId id="2147484399" r:id="rId18"/>
    <p:sldLayoutId id="2147484400" r:id="rId19"/>
    <p:sldLayoutId id="2147484401" r:id="rId20"/>
    <p:sldLayoutId id="2147484402" r:id="rId21"/>
    <p:sldLayoutId id="2147484403" r:id="rId22"/>
  </p:sldLayoutIdLst>
  <p:hf hdr="0" ftr="0" dt="0"/>
  <p:txStyles>
    <p:titleStyle>
      <a:lvl1pPr algn="l" defTabSz="914411" rtl="0" eaLnBrk="1" latinLnBrk="0" hangingPunct="1">
        <a:lnSpc>
          <a:spcPct val="100000"/>
        </a:lnSpc>
        <a:spcBef>
          <a:spcPts val="300"/>
        </a:spcBef>
        <a:buNone/>
        <a:defRPr sz="1600" b="1" kern="1200" cap="none" spc="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-133202" algn="l" defTabSz="914411" rtl="0" eaLnBrk="1" latinLnBrk="0" hangingPunct="1">
        <a:lnSpc>
          <a:spcPct val="100000"/>
        </a:lnSpc>
        <a:spcBef>
          <a:spcPts val="1200"/>
        </a:spcBef>
        <a:buFont typeface="Arial" pitchFamily="34" charset="0"/>
        <a:buNone/>
        <a:defRPr sz="12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625483" rtl="0" eaLnBrk="1" latinLnBrk="0" hangingPunct="1">
        <a:lnSpc>
          <a:spcPct val="100000"/>
        </a:lnSpc>
        <a:spcBef>
          <a:spcPts val="300"/>
        </a:spcBef>
        <a:buClr>
          <a:schemeClr val="tx1"/>
        </a:buClr>
        <a:buFontTx/>
        <a:buNone/>
        <a:defRPr sz="12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160338" indent="-160338" algn="l" defTabSz="914411" rtl="0" eaLnBrk="1" latinLnBrk="0" hangingPunct="1">
        <a:lnSpc>
          <a:spcPct val="100000"/>
        </a:lnSpc>
        <a:spcBef>
          <a:spcPts val="300"/>
        </a:spcBef>
        <a:buClr>
          <a:schemeClr val="tx2"/>
        </a:buClr>
        <a:buFont typeface="Arial" pitchFamily="34" charset="0"/>
        <a:buChar char="•"/>
        <a:defRPr sz="1200" b="0" kern="1200">
          <a:solidFill>
            <a:schemeClr val="tx2"/>
          </a:solidFill>
          <a:latin typeface="+mn-lt"/>
          <a:ea typeface="+mn-ea"/>
          <a:cs typeface="+mn-cs"/>
        </a:defRPr>
      </a:lvl3pPr>
      <a:lvl4pPr marL="314325" indent="-153988" algn="l" defTabSz="914411" rtl="0" eaLnBrk="1" latinLnBrk="0" hangingPunct="1">
        <a:lnSpc>
          <a:spcPct val="100000"/>
        </a:lnSpc>
        <a:spcBef>
          <a:spcPts val="300"/>
        </a:spcBef>
        <a:buFont typeface="Century Gothic" pitchFamily="34" charset="0"/>
        <a:buChar char="−"/>
        <a:defRPr sz="1200" b="0" kern="1200">
          <a:solidFill>
            <a:schemeClr val="tx2"/>
          </a:solidFill>
          <a:latin typeface="+mn-lt"/>
          <a:ea typeface="+mn-ea"/>
          <a:cs typeface="+mn-cs"/>
        </a:defRPr>
      </a:lvl4pPr>
      <a:lvl5pPr marL="515938" indent="-195263" algn="l" defTabSz="914411" rtl="0" eaLnBrk="1" latinLnBrk="0" hangingPunct="1">
        <a:lnSpc>
          <a:spcPct val="100000"/>
        </a:lnSpc>
        <a:spcBef>
          <a:spcPts val="300"/>
        </a:spcBef>
        <a:buFont typeface="Century Gothic" pitchFamily="34" charset="0"/>
        <a:buChar char="−"/>
        <a:defRPr sz="1200" b="0" kern="1200" cap="none" baseline="0">
          <a:solidFill>
            <a:schemeClr val="tx2"/>
          </a:solidFill>
          <a:latin typeface="+mn-lt"/>
          <a:ea typeface="+mn-ea"/>
          <a:cs typeface="+mn-cs"/>
        </a:defRPr>
      </a:lvl5pPr>
      <a:lvl6pPr marL="1983625" indent="-133202" algn="l" defTabSz="914411" rtl="0" eaLnBrk="1" latinLnBrk="0" hangingPunct="1">
        <a:lnSpc>
          <a:spcPct val="100000"/>
        </a:lnSpc>
        <a:spcBef>
          <a:spcPts val="6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983625" indent="-133202" algn="l" defTabSz="914411" rtl="0" eaLnBrk="1" latinLnBrk="0" hangingPunct="1">
        <a:lnSpc>
          <a:spcPct val="100000"/>
        </a:lnSpc>
        <a:spcBef>
          <a:spcPts val="600"/>
        </a:spcBef>
        <a:buFont typeface="Arial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983625" indent="-133202" algn="l" defTabSz="914411" rtl="0" eaLnBrk="1" latinLnBrk="0" hangingPunct="1">
        <a:lnSpc>
          <a:spcPct val="100000"/>
        </a:lnSpc>
        <a:spcBef>
          <a:spcPts val="600"/>
        </a:spcBef>
        <a:buFont typeface="Arial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983625" indent="-133202" algn="l" defTabSz="914411" rtl="0" eaLnBrk="1" latinLnBrk="0" hangingPunct="1">
        <a:lnSpc>
          <a:spcPct val="100000"/>
        </a:lnSpc>
        <a:spcBef>
          <a:spcPts val="600"/>
        </a:spcBef>
        <a:buFont typeface="Arial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GB"/>
      </a:defPPr>
      <a:lvl1pPr marL="0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6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1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7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3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9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34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40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46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26">
          <p15:clr>
            <a:srgbClr val="F26B43"/>
          </p15:clr>
        </p15:guide>
        <p15:guide id="2" pos="5534">
          <p15:clr>
            <a:srgbClr val="F26B43"/>
          </p15:clr>
        </p15:guide>
        <p15:guide id="5" orient="horz" pos="214">
          <p15:clr>
            <a:srgbClr val="F26B43"/>
          </p15:clr>
        </p15:guide>
        <p15:guide id="11" orient="horz" pos="771">
          <p15:clr>
            <a:srgbClr val="F26B43"/>
          </p15:clr>
        </p15:guide>
        <p15:guide id="12" orient="horz" pos="327">
          <p15:clr>
            <a:srgbClr val="F26B43"/>
          </p15:clr>
        </p15:guide>
        <p15:guide id="14" orient="horz" pos="891">
          <p15:clr>
            <a:srgbClr val="F26B43"/>
          </p15:clr>
        </p15:guide>
        <p15:guide id="16" orient="horz" pos="1447">
          <p15:clr>
            <a:srgbClr val="F26B43"/>
          </p15:clr>
        </p15:guide>
        <p15:guide id="18" orient="horz" pos="3016">
          <p15:clr>
            <a:srgbClr val="F26B43"/>
          </p15:clr>
        </p15:guide>
        <p15:guide id="19" orient="horz" pos="1335">
          <p15:clr>
            <a:srgbClr val="F26B43"/>
          </p15:clr>
        </p15:guide>
        <p15:guide id="20" orient="horz" pos="1894">
          <p15:clr>
            <a:srgbClr val="F26B43"/>
          </p15:clr>
        </p15:guide>
        <p15:guide id="21" orient="horz" pos="2012">
          <p15:clr>
            <a:srgbClr val="F26B43"/>
          </p15:clr>
        </p15:guide>
        <p15:guide id="22" orient="horz" pos="2456">
          <p15:clr>
            <a:srgbClr val="F26B43"/>
          </p15:clr>
        </p15:guide>
        <p15:guide id="23" orient="horz" pos="2570">
          <p15:clr>
            <a:srgbClr val="F26B43"/>
          </p15:clr>
        </p15:guide>
        <p15:guide id="24" pos="1461">
          <p15:clr>
            <a:srgbClr val="F26B43"/>
          </p15:clr>
        </p15:guide>
        <p15:guide id="25" pos="1573">
          <p15:clr>
            <a:srgbClr val="F26B43"/>
          </p15:clr>
        </p15:guide>
        <p15:guide id="26" pos="2812">
          <p15:clr>
            <a:srgbClr val="F26B43"/>
          </p15:clr>
        </p15:guide>
        <p15:guide id="27" pos="2938">
          <p15:clr>
            <a:srgbClr val="F26B43"/>
          </p15:clr>
        </p15:guide>
        <p15:guide id="28" pos="4178">
          <p15:clr>
            <a:srgbClr val="F26B43"/>
          </p15:clr>
        </p15:guide>
        <p15:guide id="29" pos="429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2.png"/><Relationship Id="rId5" Type="http://schemas.openxmlformats.org/officeDocument/2006/relationships/image" Target="../media/image18.pn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4.jpeg"/><Relationship Id="rId5" Type="http://schemas.openxmlformats.org/officeDocument/2006/relationships/image" Target="../media/image33.jpeg"/><Relationship Id="rId4" Type="http://schemas.openxmlformats.org/officeDocument/2006/relationships/image" Target="../media/image3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90.xml"/><Relationship Id="rId4" Type="http://schemas.openxmlformats.org/officeDocument/2006/relationships/chart" Target="../charts/char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5" Type="http://schemas.openxmlformats.org/officeDocument/2006/relationships/image" Target="../media/image2.png"/><Relationship Id="rId4" Type="http://schemas.openxmlformats.org/officeDocument/2006/relationships/image" Target="../media/image36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tif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39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2.xml"/><Relationship Id="rId4" Type="http://schemas.openxmlformats.org/officeDocument/2006/relationships/image" Target="../media/image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9.xml"/><Relationship Id="rId4" Type="http://schemas.openxmlformats.org/officeDocument/2006/relationships/chart" Target="../charts/char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9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26.png"/><Relationship Id="rId4" Type="http://schemas.openxmlformats.org/officeDocument/2006/relationships/image" Target="../media/image2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3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1.png"/><Relationship Id="rId5" Type="http://schemas.openxmlformats.org/officeDocument/2006/relationships/image" Target="../media/image22.png"/><Relationship Id="rId4" Type="http://schemas.openxmlformats.org/officeDocument/2006/relationships/image" Target="../media/image24.png"/><Relationship Id="rId9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26.png"/><Relationship Id="rId4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Relationship Id="rId4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nline Media 2" descr="shutterstock_1011389531.mov">
            <a:hlinkClick r:id="" action="ppaction://media"/>
            <a:extLst>
              <a:ext uri="{FF2B5EF4-FFF2-40B4-BE49-F238E27FC236}">
                <a16:creationId xmlns:a16="http://schemas.microsoft.com/office/drawing/2014/main" id="{5D665D62-25DC-5240-AD9C-36E1827670F5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8" name="Rectangle 57">
            <a:extLst>
              <a:ext uri="{FF2B5EF4-FFF2-40B4-BE49-F238E27FC236}">
                <a16:creationId xmlns:a16="http://schemas.microsoft.com/office/drawing/2014/main" id="{7DDA3407-F387-EB4D-9CA5-934C520D3DDC}"/>
              </a:ext>
            </a:extLst>
          </p:cNvPr>
          <p:cNvSpPr/>
          <p:nvPr/>
        </p:nvSpPr>
        <p:spPr>
          <a:xfrm>
            <a:off x="0" y="0"/>
            <a:ext cx="9127402" cy="5143500"/>
          </a:xfrm>
          <a:prstGeom prst="rect">
            <a:avLst/>
          </a:prstGeom>
          <a:gradFill>
            <a:gsLst>
              <a:gs pos="0">
                <a:schemeClr val="accent2">
                  <a:alpha val="58000"/>
                </a:schemeClr>
              </a:gs>
              <a:gs pos="54000">
                <a:schemeClr val="accent2">
                  <a:alpha val="60000"/>
                </a:schemeClr>
              </a:gs>
              <a:gs pos="99000">
                <a:schemeClr val="accent1">
                  <a:alpha val="46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C509765-8E36-4945-9542-5D27DC716CA7}"/>
              </a:ext>
            </a:extLst>
          </p:cNvPr>
          <p:cNvSpPr txBox="1"/>
          <p:nvPr/>
        </p:nvSpPr>
        <p:spPr>
          <a:xfrm>
            <a:off x="1791505" y="1899987"/>
            <a:ext cx="554537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KIDS THESE DAYS</a:t>
            </a:r>
          </a:p>
        </p:txBody>
      </p:sp>
      <p:sp>
        <p:nvSpPr>
          <p:cNvPr id="45" name="Frame 44">
            <a:extLst>
              <a:ext uri="{FF2B5EF4-FFF2-40B4-BE49-F238E27FC236}">
                <a16:creationId xmlns:a16="http://schemas.microsoft.com/office/drawing/2014/main" id="{559D8B6B-A621-A940-AE67-7282FCD220F2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frame">
            <a:avLst>
              <a:gd name="adj1" fmla="val 194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D0C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13E61159-15E5-9A4A-8525-A9E767ACA0C1}"/>
              </a:ext>
            </a:extLst>
          </p:cNvPr>
          <p:cNvGrpSpPr>
            <a:grpSpLocks noChangeAspect="1"/>
          </p:cNvGrpSpPr>
          <p:nvPr/>
        </p:nvGrpSpPr>
        <p:grpSpPr>
          <a:xfrm>
            <a:off x="4586145" y="2509686"/>
            <a:ext cx="1603826" cy="494112"/>
            <a:chOff x="5043330" y="2582427"/>
            <a:chExt cx="2714033" cy="836158"/>
          </a:xfrm>
        </p:grpSpPr>
        <p:pic>
          <p:nvPicPr>
            <p:cNvPr id="47" name="logo graphic">
              <a:extLst>
                <a:ext uri="{FF2B5EF4-FFF2-40B4-BE49-F238E27FC236}">
                  <a16:creationId xmlns:a16="http://schemas.microsoft.com/office/drawing/2014/main" id="{95C7144C-D4D7-ED46-A878-5BB3FC4F591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21205" y="2582427"/>
              <a:ext cx="836158" cy="836158"/>
            </a:xfrm>
            <a:prstGeom prst="rect">
              <a:avLst/>
            </a:prstGeom>
          </p:spPr>
        </p:pic>
        <p:grpSp>
          <p:nvGrpSpPr>
            <p:cNvPr id="48" name="letters">
              <a:extLst>
                <a:ext uri="{FF2B5EF4-FFF2-40B4-BE49-F238E27FC236}">
                  <a16:creationId xmlns:a16="http://schemas.microsoft.com/office/drawing/2014/main" id="{50821690-E567-4343-BA6D-A80BCB390355}"/>
                </a:ext>
              </a:extLst>
            </p:cNvPr>
            <p:cNvGrpSpPr/>
            <p:nvPr/>
          </p:nvGrpSpPr>
          <p:grpSpPr>
            <a:xfrm>
              <a:off x="5043330" y="2901718"/>
              <a:ext cx="1777426" cy="197580"/>
              <a:chOff x="566670" y="435864"/>
              <a:chExt cx="1169700" cy="130025"/>
            </a:xfrm>
            <a:solidFill>
              <a:srgbClr val="FFFFFF"/>
            </a:solidFill>
          </p:grpSpPr>
          <p:sp>
            <p:nvSpPr>
              <p:cNvPr id="49" name="Freeform 6">
                <a:extLst>
                  <a:ext uri="{FF2B5EF4-FFF2-40B4-BE49-F238E27FC236}">
                    <a16:creationId xmlns:a16="http://schemas.microsoft.com/office/drawing/2014/main" id="{3BAB81F8-1653-9A4B-A3C3-DDBEBBADF1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670" y="437296"/>
                <a:ext cx="146069" cy="127448"/>
              </a:xfrm>
              <a:custGeom>
                <a:avLst/>
                <a:gdLst>
                  <a:gd name="T0" fmla="*/ 216 w 216"/>
                  <a:gd name="T1" fmla="*/ 188 h 188"/>
                  <a:gd name="T2" fmla="*/ 178 w 216"/>
                  <a:gd name="T3" fmla="*/ 188 h 188"/>
                  <a:gd name="T4" fmla="*/ 178 w 216"/>
                  <a:gd name="T5" fmla="*/ 66 h 188"/>
                  <a:gd name="T6" fmla="*/ 113 w 216"/>
                  <a:gd name="T7" fmla="*/ 145 h 188"/>
                  <a:gd name="T8" fmla="*/ 103 w 216"/>
                  <a:gd name="T9" fmla="*/ 145 h 188"/>
                  <a:gd name="T10" fmla="*/ 38 w 216"/>
                  <a:gd name="T11" fmla="*/ 66 h 188"/>
                  <a:gd name="T12" fmla="*/ 38 w 216"/>
                  <a:gd name="T13" fmla="*/ 188 h 188"/>
                  <a:gd name="T14" fmla="*/ 0 w 216"/>
                  <a:gd name="T15" fmla="*/ 188 h 188"/>
                  <a:gd name="T16" fmla="*/ 0 w 216"/>
                  <a:gd name="T17" fmla="*/ 20 h 188"/>
                  <a:gd name="T18" fmla="*/ 20 w 216"/>
                  <a:gd name="T19" fmla="*/ 0 h 188"/>
                  <a:gd name="T20" fmla="*/ 20 w 216"/>
                  <a:gd name="T21" fmla="*/ 0 h 188"/>
                  <a:gd name="T22" fmla="*/ 38 w 216"/>
                  <a:gd name="T23" fmla="*/ 9 h 188"/>
                  <a:gd name="T24" fmla="*/ 108 w 216"/>
                  <a:gd name="T25" fmla="*/ 94 h 188"/>
                  <a:gd name="T26" fmla="*/ 182 w 216"/>
                  <a:gd name="T27" fmla="*/ 6 h 188"/>
                  <a:gd name="T28" fmla="*/ 196 w 216"/>
                  <a:gd name="T29" fmla="*/ 0 h 188"/>
                  <a:gd name="T30" fmla="*/ 196 w 216"/>
                  <a:gd name="T31" fmla="*/ 0 h 188"/>
                  <a:gd name="T32" fmla="*/ 216 w 216"/>
                  <a:gd name="T33" fmla="*/ 19 h 188"/>
                  <a:gd name="T34" fmla="*/ 216 w 216"/>
                  <a:gd name="T35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16" h="188">
                    <a:moveTo>
                      <a:pt x="216" y="188"/>
                    </a:moveTo>
                    <a:cubicBezTo>
                      <a:pt x="178" y="188"/>
                      <a:pt x="178" y="188"/>
                      <a:pt x="178" y="188"/>
                    </a:cubicBezTo>
                    <a:cubicBezTo>
                      <a:pt x="178" y="66"/>
                      <a:pt x="178" y="66"/>
                      <a:pt x="178" y="66"/>
                    </a:cubicBezTo>
                    <a:cubicBezTo>
                      <a:pt x="113" y="145"/>
                      <a:pt x="113" y="145"/>
                      <a:pt x="113" y="145"/>
                    </a:cubicBezTo>
                    <a:cubicBezTo>
                      <a:pt x="110" y="148"/>
                      <a:pt x="106" y="148"/>
                      <a:pt x="103" y="145"/>
                    </a:cubicBezTo>
                    <a:cubicBezTo>
                      <a:pt x="38" y="66"/>
                      <a:pt x="38" y="66"/>
                      <a:pt x="38" y="66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8" y="0"/>
                      <a:pt x="32" y="3"/>
                      <a:pt x="38" y="9"/>
                    </a:cubicBezTo>
                    <a:cubicBezTo>
                      <a:pt x="108" y="94"/>
                      <a:pt x="108" y="94"/>
                      <a:pt x="108" y="94"/>
                    </a:cubicBezTo>
                    <a:cubicBezTo>
                      <a:pt x="182" y="6"/>
                      <a:pt x="182" y="6"/>
                      <a:pt x="182" y="6"/>
                    </a:cubicBezTo>
                    <a:cubicBezTo>
                      <a:pt x="185" y="2"/>
                      <a:pt x="190" y="0"/>
                      <a:pt x="196" y="0"/>
                    </a:cubicBezTo>
                    <a:cubicBezTo>
                      <a:pt x="196" y="0"/>
                      <a:pt x="196" y="0"/>
                      <a:pt x="196" y="0"/>
                    </a:cubicBezTo>
                    <a:cubicBezTo>
                      <a:pt x="207" y="0"/>
                      <a:pt x="216" y="8"/>
                      <a:pt x="216" y="19"/>
                    </a:cubicBezTo>
                    <a:lnTo>
                      <a:pt x="216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1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D0C4B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50" name="Freeform 7">
                <a:extLst>
                  <a:ext uri="{FF2B5EF4-FFF2-40B4-BE49-F238E27FC236}">
                    <a16:creationId xmlns:a16="http://schemas.microsoft.com/office/drawing/2014/main" id="{565A3A2A-E1BB-2944-803F-D8AD3E8843F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50862" y="436723"/>
                <a:ext cx="146069" cy="128020"/>
              </a:xfrm>
              <a:custGeom>
                <a:avLst/>
                <a:gdLst>
                  <a:gd name="T0" fmla="*/ 0 w 216"/>
                  <a:gd name="T1" fmla="*/ 189 h 189"/>
                  <a:gd name="T2" fmla="*/ 42 w 216"/>
                  <a:gd name="T3" fmla="*/ 189 h 189"/>
                  <a:gd name="T4" fmla="*/ 66 w 216"/>
                  <a:gd name="T5" fmla="*/ 138 h 189"/>
                  <a:gd name="T6" fmla="*/ 148 w 216"/>
                  <a:gd name="T7" fmla="*/ 138 h 189"/>
                  <a:gd name="T8" fmla="*/ 174 w 216"/>
                  <a:gd name="T9" fmla="*/ 189 h 189"/>
                  <a:gd name="T10" fmla="*/ 216 w 216"/>
                  <a:gd name="T11" fmla="*/ 189 h 189"/>
                  <a:gd name="T12" fmla="*/ 124 w 216"/>
                  <a:gd name="T13" fmla="*/ 9 h 189"/>
                  <a:gd name="T14" fmla="*/ 106 w 216"/>
                  <a:gd name="T15" fmla="*/ 0 h 189"/>
                  <a:gd name="T16" fmla="*/ 106 w 216"/>
                  <a:gd name="T17" fmla="*/ 0 h 189"/>
                  <a:gd name="T18" fmla="*/ 89 w 216"/>
                  <a:gd name="T19" fmla="*/ 9 h 189"/>
                  <a:gd name="T20" fmla="*/ 0 w 216"/>
                  <a:gd name="T21" fmla="*/ 189 h 189"/>
                  <a:gd name="T22" fmla="*/ 106 w 216"/>
                  <a:gd name="T23" fmla="*/ 55 h 189"/>
                  <a:gd name="T24" fmla="*/ 133 w 216"/>
                  <a:gd name="T25" fmla="*/ 108 h 189"/>
                  <a:gd name="T26" fmla="*/ 81 w 216"/>
                  <a:gd name="T27" fmla="*/ 108 h 189"/>
                  <a:gd name="T28" fmla="*/ 106 w 216"/>
                  <a:gd name="T29" fmla="*/ 55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16" h="189">
                    <a:moveTo>
                      <a:pt x="0" y="189"/>
                    </a:moveTo>
                    <a:cubicBezTo>
                      <a:pt x="42" y="189"/>
                      <a:pt x="42" y="189"/>
                      <a:pt x="42" y="189"/>
                    </a:cubicBezTo>
                    <a:cubicBezTo>
                      <a:pt x="66" y="138"/>
                      <a:pt x="66" y="138"/>
                      <a:pt x="66" y="138"/>
                    </a:cubicBezTo>
                    <a:cubicBezTo>
                      <a:pt x="148" y="138"/>
                      <a:pt x="148" y="138"/>
                      <a:pt x="148" y="138"/>
                    </a:cubicBezTo>
                    <a:cubicBezTo>
                      <a:pt x="174" y="189"/>
                      <a:pt x="174" y="189"/>
                      <a:pt x="174" y="189"/>
                    </a:cubicBezTo>
                    <a:cubicBezTo>
                      <a:pt x="216" y="189"/>
                      <a:pt x="216" y="189"/>
                      <a:pt x="216" y="189"/>
                    </a:cubicBezTo>
                    <a:cubicBezTo>
                      <a:pt x="124" y="9"/>
                      <a:pt x="124" y="9"/>
                      <a:pt x="124" y="9"/>
                    </a:cubicBezTo>
                    <a:cubicBezTo>
                      <a:pt x="120" y="3"/>
                      <a:pt x="114" y="0"/>
                      <a:pt x="106" y="0"/>
                    </a:cubicBezTo>
                    <a:cubicBezTo>
                      <a:pt x="106" y="0"/>
                      <a:pt x="106" y="0"/>
                      <a:pt x="106" y="0"/>
                    </a:cubicBezTo>
                    <a:cubicBezTo>
                      <a:pt x="99" y="0"/>
                      <a:pt x="93" y="3"/>
                      <a:pt x="89" y="9"/>
                    </a:cubicBezTo>
                    <a:lnTo>
                      <a:pt x="0" y="189"/>
                    </a:lnTo>
                    <a:close/>
                    <a:moveTo>
                      <a:pt x="106" y="55"/>
                    </a:moveTo>
                    <a:cubicBezTo>
                      <a:pt x="133" y="108"/>
                      <a:pt x="133" y="108"/>
                      <a:pt x="133" y="108"/>
                    </a:cubicBezTo>
                    <a:cubicBezTo>
                      <a:pt x="81" y="108"/>
                      <a:pt x="81" y="108"/>
                      <a:pt x="81" y="108"/>
                    </a:cubicBezTo>
                    <a:lnTo>
                      <a:pt x="106" y="5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1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D0C4B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51" name="Freeform 8">
                <a:extLst>
                  <a:ext uri="{FF2B5EF4-FFF2-40B4-BE49-F238E27FC236}">
                    <a16:creationId xmlns:a16="http://schemas.microsoft.com/office/drawing/2014/main" id="{95E1E540-3787-884B-927A-6C05C433B3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9211" y="437296"/>
                <a:ext cx="128598" cy="127448"/>
              </a:xfrm>
              <a:custGeom>
                <a:avLst/>
                <a:gdLst>
                  <a:gd name="T0" fmla="*/ 190 w 190"/>
                  <a:gd name="T1" fmla="*/ 188 h 188"/>
                  <a:gd name="T2" fmla="*/ 163 w 190"/>
                  <a:gd name="T3" fmla="*/ 188 h 188"/>
                  <a:gd name="T4" fmla="*/ 38 w 190"/>
                  <a:gd name="T5" fmla="*/ 62 h 188"/>
                  <a:gd name="T6" fmla="*/ 38 w 190"/>
                  <a:gd name="T7" fmla="*/ 188 h 188"/>
                  <a:gd name="T8" fmla="*/ 0 w 190"/>
                  <a:gd name="T9" fmla="*/ 188 h 188"/>
                  <a:gd name="T10" fmla="*/ 0 w 190"/>
                  <a:gd name="T11" fmla="*/ 20 h 188"/>
                  <a:gd name="T12" fmla="*/ 21 w 190"/>
                  <a:gd name="T13" fmla="*/ 0 h 188"/>
                  <a:gd name="T14" fmla="*/ 21 w 190"/>
                  <a:gd name="T15" fmla="*/ 0 h 188"/>
                  <a:gd name="T16" fmla="*/ 36 w 190"/>
                  <a:gd name="T17" fmla="*/ 6 h 188"/>
                  <a:gd name="T18" fmla="*/ 152 w 190"/>
                  <a:gd name="T19" fmla="*/ 123 h 188"/>
                  <a:gd name="T20" fmla="*/ 152 w 190"/>
                  <a:gd name="T21" fmla="*/ 12 h 188"/>
                  <a:gd name="T22" fmla="*/ 165 w 190"/>
                  <a:gd name="T23" fmla="*/ 0 h 188"/>
                  <a:gd name="T24" fmla="*/ 178 w 190"/>
                  <a:gd name="T25" fmla="*/ 0 h 188"/>
                  <a:gd name="T26" fmla="*/ 190 w 190"/>
                  <a:gd name="T27" fmla="*/ 12 h 188"/>
                  <a:gd name="T28" fmla="*/ 190 w 190"/>
                  <a:gd name="T29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0" h="188">
                    <a:moveTo>
                      <a:pt x="190" y="188"/>
                    </a:moveTo>
                    <a:cubicBezTo>
                      <a:pt x="163" y="188"/>
                      <a:pt x="163" y="188"/>
                      <a:pt x="163" y="188"/>
                    </a:cubicBezTo>
                    <a:cubicBezTo>
                      <a:pt x="38" y="62"/>
                      <a:pt x="38" y="62"/>
                      <a:pt x="38" y="62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1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7" y="0"/>
                      <a:pt x="32" y="2"/>
                      <a:pt x="36" y="6"/>
                    </a:cubicBezTo>
                    <a:cubicBezTo>
                      <a:pt x="152" y="123"/>
                      <a:pt x="152" y="123"/>
                      <a:pt x="152" y="123"/>
                    </a:cubicBezTo>
                    <a:cubicBezTo>
                      <a:pt x="152" y="12"/>
                      <a:pt x="152" y="12"/>
                      <a:pt x="152" y="12"/>
                    </a:cubicBezTo>
                    <a:cubicBezTo>
                      <a:pt x="152" y="5"/>
                      <a:pt x="158" y="0"/>
                      <a:pt x="165" y="0"/>
                    </a:cubicBezTo>
                    <a:cubicBezTo>
                      <a:pt x="178" y="0"/>
                      <a:pt x="178" y="0"/>
                      <a:pt x="178" y="0"/>
                    </a:cubicBezTo>
                    <a:cubicBezTo>
                      <a:pt x="185" y="0"/>
                      <a:pt x="190" y="5"/>
                      <a:pt x="190" y="12"/>
                    </a:cubicBezTo>
                    <a:lnTo>
                      <a:pt x="190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1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D0C4B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52" name="Freeform 9">
                <a:extLst>
                  <a:ext uri="{FF2B5EF4-FFF2-40B4-BE49-F238E27FC236}">
                    <a16:creationId xmlns:a16="http://schemas.microsoft.com/office/drawing/2014/main" id="{4B2E9F7B-8F76-5E4D-88AB-36C48BE0BD5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3586" y="437296"/>
                <a:ext cx="127739" cy="127448"/>
              </a:xfrm>
              <a:custGeom>
                <a:avLst/>
                <a:gdLst>
                  <a:gd name="T0" fmla="*/ 117 w 189"/>
                  <a:gd name="T1" fmla="*/ 4 h 188"/>
                  <a:gd name="T2" fmla="*/ 72 w 189"/>
                  <a:gd name="T3" fmla="*/ 0 h 188"/>
                  <a:gd name="T4" fmla="*/ 19 w 189"/>
                  <a:gd name="T5" fmla="*/ 0 h 188"/>
                  <a:gd name="T6" fmla="*/ 0 w 189"/>
                  <a:gd name="T7" fmla="*/ 18 h 188"/>
                  <a:gd name="T8" fmla="*/ 0 w 189"/>
                  <a:gd name="T9" fmla="*/ 188 h 188"/>
                  <a:gd name="T10" fmla="*/ 62 w 189"/>
                  <a:gd name="T11" fmla="*/ 188 h 188"/>
                  <a:gd name="T12" fmla="*/ 115 w 189"/>
                  <a:gd name="T13" fmla="*/ 182 h 188"/>
                  <a:gd name="T14" fmla="*/ 189 w 189"/>
                  <a:gd name="T15" fmla="*/ 91 h 188"/>
                  <a:gd name="T16" fmla="*/ 117 w 189"/>
                  <a:gd name="T17" fmla="*/ 4 h 188"/>
                  <a:gd name="T18" fmla="*/ 105 w 189"/>
                  <a:gd name="T19" fmla="*/ 148 h 188"/>
                  <a:gd name="T20" fmla="*/ 62 w 189"/>
                  <a:gd name="T21" fmla="*/ 153 h 188"/>
                  <a:gd name="T22" fmla="*/ 62 w 189"/>
                  <a:gd name="T23" fmla="*/ 153 h 188"/>
                  <a:gd name="T24" fmla="*/ 38 w 189"/>
                  <a:gd name="T25" fmla="*/ 153 h 188"/>
                  <a:gd name="T26" fmla="*/ 38 w 189"/>
                  <a:gd name="T27" fmla="*/ 153 h 188"/>
                  <a:gd name="T28" fmla="*/ 38 w 189"/>
                  <a:gd name="T29" fmla="*/ 34 h 188"/>
                  <a:gd name="T30" fmla="*/ 38 w 189"/>
                  <a:gd name="T31" fmla="*/ 34 h 188"/>
                  <a:gd name="T32" fmla="*/ 68 w 189"/>
                  <a:gd name="T33" fmla="*/ 34 h 188"/>
                  <a:gd name="T34" fmla="*/ 68 w 189"/>
                  <a:gd name="T35" fmla="*/ 34 h 188"/>
                  <a:gd name="T36" fmla="*/ 107 w 189"/>
                  <a:gd name="T37" fmla="*/ 38 h 188"/>
                  <a:gd name="T38" fmla="*/ 150 w 189"/>
                  <a:gd name="T39" fmla="*/ 91 h 188"/>
                  <a:gd name="T40" fmla="*/ 105 w 189"/>
                  <a:gd name="T41" fmla="*/ 14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89" h="188">
                    <a:moveTo>
                      <a:pt x="117" y="4"/>
                    </a:moveTo>
                    <a:cubicBezTo>
                      <a:pt x="104" y="1"/>
                      <a:pt x="89" y="0"/>
                      <a:pt x="72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9" y="0"/>
                      <a:pt x="0" y="8"/>
                      <a:pt x="0" y="1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62" y="188"/>
                      <a:pt x="62" y="188"/>
                      <a:pt x="62" y="188"/>
                    </a:cubicBezTo>
                    <a:cubicBezTo>
                      <a:pt x="84" y="188"/>
                      <a:pt x="100" y="186"/>
                      <a:pt x="115" y="182"/>
                    </a:cubicBezTo>
                    <a:cubicBezTo>
                      <a:pt x="163" y="168"/>
                      <a:pt x="189" y="136"/>
                      <a:pt x="189" y="91"/>
                    </a:cubicBezTo>
                    <a:cubicBezTo>
                      <a:pt x="189" y="46"/>
                      <a:pt x="164" y="15"/>
                      <a:pt x="117" y="4"/>
                    </a:cubicBezTo>
                    <a:close/>
                    <a:moveTo>
                      <a:pt x="105" y="148"/>
                    </a:moveTo>
                    <a:cubicBezTo>
                      <a:pt x="94" y="151"/>
                      <a:pt x="79" y="153"/>
                      <a:pt x="62" y="153"/>
                    </a:cubicBezTo>
                    <a:cubicBezTo>
                      <a:pt x="62" y="153"/>
                      <a:pt x="62" y="153"/>
                      <a:pt x="62" y="153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68" y="34"/>
                      <a:pt x="68" y="34"/>
                      <a:pt x="68" y="34"/>
                    </a:cubicBezTo>
                    <a:cubicBezTo>
                      <a:pt x="68" y="34"/>
                      <a:pt x="68" y="34"/>
                      <a:pt x="68" y="34"/>
                    </a:cubicBezTo>
                    <a:cubicBezTo>
                      <a:pt x="86" y="34"/>
                      <a:pt x="97" y="35"/>
                      <a:pt x="107" y="38"/>
                    </a:cubicBezTo>
                    <a:cubicBezTo>
                      <a:pt x="136" y="46"/>
                      <a:pt x="150" y="63"/>
                      <a:pt x="150" y="91"/>
                    </a:cubicBezTo>
                    <a:cubicBezTo>
                      <a:pt x="150" y="120"/>
                      <a:pt x="135" y="139"/>
                      <a:pt x="105" y="14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1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D0C4B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53" name="Freeform 10">
                <a:extLst>
                  <a:ext uri="{FF2B5EF4-FFF2-40B4-BE49-F238E27FC236}">
                    <a16:creationId xmlns:a16="http://schemas.microsoft.com/office/drawing/2014/main" id="{243E2B5A-8183-824D-8C0F-1B1566B8913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13256" y="437296"/>
                <a:ext cx="110841" cy="127448"/>
              </a:xfrm>
              <a:custGeom>
                <a:avLst/>
                <a:gdLst>
                  <a:gd name="T0" fmla="*/ 113 w 164"/>
                  <a:gd name="T1" fmla="*/ 113 h 188"/>
                  <a:gd name="T2" fmla="*/ 158 w 164"/>
                  <a:gd name="T3" fmla="*/ 58 h 188"/>
                  <a:gd name="T4" fmla="*/ 82 w 164"/>
                  <a:gd name="T5" fmla="*/ 0 h 188"/>
                  <a:gd name="T6" fmla="*/ 19 w 164"/>
                  <a:gd name="T7" fmla="*/ 0 h 188"/>
                  <a:gd name="T8" fmla="*/ 0 w 164"/>
                  <a:gd name="T9" fmla="*/ 18 h 188"/>
                  <a:gd name="T10" fmla="*/ 0 w 164"/>
                  <a:gd name="T11" fmla="*/ 188 h 188"/>
                  <a:gd name="T12" fmla="*/ 38 w 164"/>
                  <a:gd name="T13" fmla="*/ 188 h 188"/>
                  <a:gd name="T14" fmla="*/ 38 w 164"/>
                  <a:gd name="T15" fmla="*/ 118 h 188"/>
                  <a:gd name="T16" fmla="*/ 72 w 164"/>
                  <a:gd name="T17" fmla="*/ 118 h 188"/>
                  <a:gd name="T18" fmla="*/ 119 w 164"/>
                  <a:gd name="T19" fmla="*/ 188 h 188"/>
                  <a:gd name="T20" fmla="*/ 164 w 164"/>
                  <a:gd name="T21" fmla="*/ 188 h 188"/>
                  <a:gd name="T22" fmla="*/ 113 w 164"/>
                  <a:gd name="T23" fmla="*/ 113 h 188"/>
                  <a:gd name="T24" fmla="*/ 38 w 164"/>
                  <a:gd name="T25" fmla="*/ 83 h 188"/>
                  <a:gd name="T26" fmla="*/ 38 w 164"/>
                  <a:gd name="T27" fmla="*/ 34 h 188"/>
                  <a:gd name="T28" fmla="*/ 85 w 164"/>
                  <a:gd name="T29" fmla="*/ 34 h 188"/>
                  <a:gd name="T30" fmla="*/ 118 w 164"/>
                  <a:gd name="T31" fmla="*/ 59 h 188"/>
                  <a:gd name="T32" fmla="*/ 77 w 164"/>
                  <a:gd name="T33" fmla="*/ 83 h 188"/>
                  <a:gd name="T34" fmla="*/ 38 w 164"/>
                  <a:gd name="T35" fmla="*/ 83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4" h="188">
                    <a:moveTo>
                      <a:pt x="113" y="113"/>
                    </a:moveTo>
                    <a:cubicBezTo>
                      <a:pt x="142" y="105"/>
                      <a:pt x="158" y="86"/>
                      <a:pt x="158" y="58"/>
                    </a:cubicBezTo>
                    <a:cubicBezTo>
                      <a:pt x="158" y="22"/>
                      <a:pt x="129" y="0"/>
                      <a:pt x="82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8" y="0"/>
                      <a:pt x="0" y="8"/>
                      <a:pt x="0" y="1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38" y="118"/>
                      <a:pt x="38" y="118"/>
                      <a:pt x="38" y="118"/>
                    </a:cubicBezTo>
                    <a:cubicBezTo>
                      <a:pt x="72" y="118"/>
                      <a:pt x="72" y="118"/>
                      <a:pt x="72" y="118"/>
                    </a:cubicBezTo>
                    <a:cubicBezTo>
                      <a:pt x="119" y="188"/>
                      <a:pt x="119" y="188"/>
                      <a:pt x="119" y="188"/>
                    </a:cubicBezTo>
                    <a:cubicBezTo>
                      <a:pt x="164" y="188"/>
                      <a:pt x="164" y="188"/>
                      <a:pt x="164" y="188"/>
                    </a:cubicBezTo>
                    <a:lnTo>
                      <a:pt x="113" y="113"/>
                    </a:lnTo>
                    <a:close/>
                    <a:moveTo>
                      <a:pt x="38" y="83"/>
                    </a:moveTo>
                    <a:cubicBezTo>
                      <a:pt x="38" y="34"/>
                      <a:pt x="38" y="34"/>
                      <a:pt x="38" y="34"/>
                    </a:cubicBezTo>
                    <a:cubicBezTo>
                      <a:pt x="85" y="34"/>
                      <a:pt x="85" y="34"/>
                      <a:pt x="85" y="34"/>
                    </a:cubicBezTo>
                    <a:cubicBezTo>
                      <a:pt x="98" y="34"/>
                      <a:pt x="118" y="38"/>
                      <a:pt x="118" y="59"/>
                    </a:cubicBezTo>
                    <a:cubicBezTo>
                      <a:pt x="118" y="69"/>
                      <a:pt x="114" y="83"/>
                      <a:pt x="77" y="83"/>
                    </a:cubicBezTo>
                    <a:lnTo>
                      <a:pt x="38" y="8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1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D0C4B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54" name="Freeform 11">
                <a:extLst>
                  <a:ext uri="{FF2B5EF4-FFF2-40B4-BE49-F238E27FC236}">
                    <a16:creationId xmlns:a16="http://schemas.microsoft.com/office/drawing/2014/main" id="{D7015B08-50B8-E648-B49A-A963968B68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8516" y="437296"/>
                <a:ext cx="25777" cy="127448"/>
              </a:xfrm>
              <a:custGeom>
                <a:avLst/>
                <a:gdLst>
                  <a:gd name="T0" fmla="*/ 0 w 38"/>
                  <a:gd name="T1" fmla="*/ 188 h 188"/>
                  <a:gd name="T2" fmla="*/ 38 w 38"/>
                  <a:gd name="T3" fmla="*/ 188 h 188"/>
                  <a:gd name="T4" fmla="*/ 38 w 38"/>
                  <a:gd name="T5" fmla="*/ 12 h 188"/>
                  <a:gd name="T6" fmla="*/ 25 w 38"/>
                  <a:gd name="T7" fmla="*/ 0 h 188"/>
                  <a:gd name="T8" fmla="*/ 13 w 38"/>
                  <a:gd name="T9" fmla="*/ 0 h 188"/>
                  <a:gd name="T10" fmla="*/ 0 w 38"/>
                  <a:gd name="T11" fmla="*/ 12 h 188"/>
                  <a:gd name="T12" fmla="*/ 0 w 38"/>
                  <a:gd name="T13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" h="188">
                    <a:moveTo>
                      <a:pt x="0" y="188"/>
                    </a:moveTo>
                    <a:cubicBezTo>
                      <a:pt x="38" y="188"/>
                      <a:pt x="38" y="188"/>
                      <a:pt x="38" y="188"/>
                    </a:cubicBezTo>
                    <a:cubicBezTo>
                      <a:pt x="38" y="12"/>
                      <a:pt x="38" y="12"/>
                      <a:pt x="38" y="12"/>
                    </a:cubicBezTo>
                    <a:cubicBezTo>
                      <a:pt x="38" y="5"/>
                      <a:pt x="32" y="0"/>
                      <a:pt x="25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0" y="5"/>
                      <a:pt x="0" y="12"/>
                    </a:cubicBezTo>
                    <a:lnTo>
                      <a:pt x="0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1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D0C4B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55" name="Freeform 12">
                <a:extLst>
                  <a:ext uri="{FF2B5EF4-FFF2-40B4-BE49-F238E27FC236}">
                    <a16:creationId xmlns:a16="http://schemas.microsoft.com/office/drawing/2014/main" id="{4DAC24DD-B10E-DE41-983E-C87862B56A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7394" y="437296"/>
                <a:ext cx="118001" cy="127448"/>
              </a:xfrm>
              <a:custGeom>
                <a:avLst/>
                <a:gdLst>
                  <a:gd name="T0" fmla="*/ 174 w 174"/>
                  <a:gd name="T1" fmla="*/ 188 h 188"/>
                  <a:gd name="T2" fmla="*/ 137 w 174"/>
                  <a:gd name="T3" fmla="*/ 188 h 188"/>
                  <a:gd name="T4" fmla="*/ 137 w 174"/>
                  <a:gd name="T5" fmla="*/ 110 h 188"/>
                  <a:gd name="T6" fmla="*/ 38 w 174"/>
                  <a:gd name="T7" fmla="*/ 110 h 188"/>
                  <a:gd name="T8" fmla="*/ 38 w 174"/>
                  <a:gd name="T9" fmla="*/ 188 h 188"/>
                  <a:gd name="T10" fmla="*/ 0 w 174"/>
                  <a:gd name="T11" fmla="*/ 188 h 188"/>
                  <a:gd name="T12" fmla="*/ 0 w 174"/>
                  <a:gd name="T13" fmla="*/ 12 h 188"/>
                  <a:gd name="T14" fmla="*/ 13 w 174"/>
                  <a:gd name="T15" fmla="*/ 0 h 188"/>
                  <a:gd name="T16" fmla="*/ 25 w 174"/>
                  <a:gd name="T17" fmla="*/ 0 h 188"/>
                  <a:gd name="T18" fmla="*/ 38 w 174"/>
                  <a:gd name="T19" fmla="*/ 12 h 188"/>
                  <a:gd name="T20" fmla="*/ 38 w 174"/>
                  <a:gd name="T21" fmla="*/ 75 h 188"/>
                  <a:gd name="T22" fmla="*/ 137 w 174"/>
                  <a:gd name="T23" fmla="*/ 75 h 188"/>
                  <a:gd name="T24" fmla="*/ 137 w 174"/>
                  <a:gd name="T25" fmla="*/ 12 h 188"/>
                  <a:gd name="T26" fmla="*/ 149 w 174"/>
                  <a:gd name="T27" fmla="*/ 0 h 188"/>
                  <a:gd name="T28" fmla="*/ 162 w 174"/>
                  <a:gd name="T29" fmla="*/ 0 h 188"/>
                  <a:gd name="T30" fmla="*/ 174 w 174"/>
                  <a:gd name="T31" fmla="*/ 12 h 188"/>
                  <a:gd name="T32" fmla="*/ 174 w 174"/>
                  <a:gd name="T33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4" h="188">
                    <a:moveTo>
                      <a:pt x="174" y="188"/>
                    </a:moveTo>
                    <a:cubicBezTo>
                      <a:pt x="137" y="188"/>
                      <a:pt x="137" y="188"/>
                      <a:pt x="137" y="188"/>
                    </a:cubicBezTo>
                    <a:cubicBezTo>
                      <a:pt x="137" y="110"/>
                      <a:pt x="137" y="110"/>
                      <a:pt x="137" y="110"/>
                    </a:cubicBezTo>
                    <a:cubicBezTo>
                      <a:pt x="38" y="110"/>
                      <a:pt x="38" y="110"/>
                      <a:pt x="38" y="110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6" y="0"/>
                      <a:pt x="13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32" y="0"/>
                      <a:pt x="38" y="5"/>
                      <a:pt x="38" y="12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137" y="75"/>
                      <a:pt x="137" y="75"/>
                      <a:pt x="137" y="75"/>
                    </a:cubicBezTo>
                    <a:cubicBezTo>
                      <a:pt x="137" y="12"/>
                      <a:pt x="137" y="12"/>
                      <a:pt x="137" y="12"/>
                    </a:cubicBezTo>
                    <a:cubicBezTo>
                      <a:pt x="137" y="5"/>
                      <a:pt x="142" y="0"/>
                      <a:pt x="149" y="0"/>
                    </a:cubicBezTo>
                    <a:cubicBezTo>
                      <a:pt x="162" y="0"/>
                      <a:pt x="162" y="0"/>
                      <a:pt x="162" y="0"/>
                    </a:cubicBezTo>
                    <a:cubicBezTo>
                      <a:pt x="169" y="0"/>
                      <a:pt x="174" y="5"/>
                      <a:pt x="174" y="12"/>
                    </a:cubicBezTo>
                    <a:lnTo>
                      <a:pt x="174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1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D0C4B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56" name="Freeform 13">
                <a:extLst>
                  <a:ext uri="{FF2B5EF4-FFF2-40B4-BE49-F238E27FC236}">
                    <a16:creationId xmlns:a16="http://schemas.microsoft.com/office/drawing/2014/main" id="{46B3B380-E1B0-A14A-90BB-0C5B1B99A8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5646" y="435864"/>
                <a:ext cx="108836" cy="130025"/>
              </a:xfrm>
              <a:custGeom>
                <a:avLst/>
                <a:gdLst>
                  <a:gd name="T0" fmla="*/ 90 w 161"/>
                  <a:gd name="T1" fmla="*/ 78 h 192"/>
                  <a:gd name="T2" fmla="*/ 46 w 161"/>
                  <a:gd name="T3" fmla="*/ 56 h 192"/>
                  <a:gd name="T4" fmla="*/ 83 w 161"/>
                  <a:gd name="T5" fmla="*/ 36 h 192"/>
                  <a:gd name="T6" fmla="*/ 139 w 161"/>
                  <a:gd name="T7" fmla="*/ 49 h 192"/>
                  <a:gd name="T8" fmla="*/ 140 w 161"/>
                  <a:gd name="T9" fmla="*/ 49 h 192"/>
                  <a:gd name="T10" fmla="*/ 145 w 161"/>
                  <a:gd name="T11" fmla="*/ 47 h 192"/>
                  <a:gd name="T12" fmla="*/ 156 w 161"/>
                  <a:gd name="T13" fmla="*/ 25 h 192"/>
                  <a:gd name="T14" fmla="*/ 156 w 161"/>
                  <a:gd name="T15" fmla="*/ 23 h 192"/>
                  <a:gd name="T16" fmla="*/ 153 w 161"/>
                  <a:gd name="T17" fmla="*/ 18 h 192"/>
                  <a:gd name="T18" fmla="*/ 152 w 161"/>
                  <a:gd name="T19" fmla="*/ 17 h 192"/>
                  <a:gd name="T20" fmla="*/ 81 w 161"/>
                  <a:gd name="T21" fmla="*/ 0 h 192"/>
                  <a:gd name="T22" fmla="*/ 7 w 161"/>
                  <a:gd name="T23" fmla="*/ 57 h 192"/>
                  <a:gd name="T24" fmla="*/ 25 w 161"/>
                  <a:gd name="T25" fmla="*/ 96 h 192"/>
                  <a:gd name="T26" fmla="*/ 80 w 161"/>
                  <a:gd name="T27" fmla="*/ 113 h 192"/>
                  <a:gd name="T28" fmla="*/ 122 w 161"/>
                  <a:gd name="T29" fmla="*/ 133 h 192"/>
                  <a:gd name="T30" fmla="*/ 78 w 161"/>
                  <a:gd name="T31" fmla="*/ 157 h 192"/>
                  <a:gd name="T32" fmla="*/ 22 w 161"/>
                  <a:gd name="T33" fmla="*/ 142 h 192"/>
                  <a:gd name="T34" fmla="*/ 18 w 161"/>
                  <a:gd name="T35" fmla="*/ 139 h 192"/>
                  <a:gd name="T36" fmla="*/ 15 w 161"/>
                  <a:gd name="T37" fmla="*/ 143 h 192"/>
                  <a:gd name="T38" fmla="*/ 2 w 161"/>
                  <a:gd name="T39" fmla="*/ 166 h 192"/>
                  <a:gd name="T40" fmla="*/ 0 w 161"/>
                  <a:gd name="T41" fmla="*/ 170 h 192"/>
                  <a:gd name="T42" fmla="*/ 4 w 161"/>
                  <a:gd name="T43" fmla="*/ 172 h 192"/>
                  <a:gd name="T44" fmla="*/ 77 w 161"/>
                  <a:gd name="T45" fmla="*/ 192 h 192"/>
                  <a:gd name="T46" fmla="*/ 161 w 161"/>
                  <a:gd name="T47" fmla="*/ 132 h 192"/>
                  <a:gd name="T48" fmla="*/ 90 w 161"/>
                  <a:gd name="T49" fmla="*/ 78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61" h="192">
                    <a:moveTo>
                      <a:pt x="90" y="78"/>
                    </a:moveTo>
                    <a:cubicBezTo>
                      <a:pt x="63" y="74"/>
                      <a:pt x="46" y="71"/>
                      <a:pt x="46" y="56"/>
                    </a:cubicBezTo>
                    <a:cubicBezTo>
                      <a:pt x="46" y="43"/>
                      <a:pt x="60" y="36"/>
                      <a:pt x="83" y="36"/>
                    </a:cubicBezTo>
                    <a:cubicBezTo>
                      <a:pt x="109" y="36"/>
                      <a:pt x="130" y="45"/>
                      <a:pt x="139" y="49"/>
                    </a:cubicBezTo>
                    <a:cubicBezTo>
                      <a:pt x="139" y="49"/>
                      <a:pt x="139" y="49"/>
                      <a:pt x="140" y="49"/>
                    </a:cubicBezTo>
                    <a:cubicBezTo>
                      <a:pt x="142" y="49"/>
                      <a:pt x="144" y="49"/>
                      <a:pt x="145" y="47"/>
                    </a:cubicBezTo>
                    <a:cubicBezTo>
                      <a:pt x="156" y="25"/>
                      <a:pt x="156" y="25"/>
                      <a:pt x="156" y="25"/>
                    </a:cubicBezTo>
                    <a:cubicBezTo>
                      <a:pt x="156" y="24"/>
                      <a:pt x="156" y="23"/>
                      <a:pt x="156" y="23"/>
                    </a:cubicBezTo>
                    <a:cubicBezTo>
                      <a:pt x="156" y="21"/>
                      <a:pt x="155" y="19"/>
                      <a:pt x="153" y="18"/>
                    </a:cubicBezTo>
                    <a:cubicBezTo>
                      <a:pt x="152" y="17"/>
                      <a:pt x="152" y="17"/>
                      <a:pt x="152" y="17"/>
                    </a:cubicBezTo>
                    <a:cubicBezTo>
                      <a:pt x="133" y="7"/>
                      <a:pt x="106" y="0"/>
                      <a:pt x="81" y="0"/>
                    </a:cubicBezTo>
                    <a:cubicBezTo>
                      <a:pt x="35" y="0"/>
                      <a:pt x="7" y="22"/>
                      <a:pt x="7" y="57"/>
                    </a:cubicBezTo>
                    <a:cubicBezTo>
                      <a:pt x="7" y="75"/>
                      <a:pt x="13" y="87"/>
                      <a:pt x="25" y="96"/>
                    </a:cubicBezTo>
                    <a:cubicBezTo>
                      <a:pt x="40" y="107"/>
                      <a:pt x="61" y="110"/>
                      <a:pt x="80" y="113"/>
                    </a:cubicBezTo>
                    <a:cubicBezTo>
                      <a:pt x="106" y="117"/>
                      <a:pt x="122" y="119"/>
                      <a:pt x="122" y="133"/>
                    </a:cubicBezTo>
                    <a:cubicBezTo>
                      <a:pt x="122" y="155"/>
                      <a:pt x="91" y="157"/>
                      <a:pt x="78" y="157"/>
                    </a:cubicBezTo>
                    <a:cubicBezTo>
                      <a:pt x="57" y="157"/>
                      <a:pt x="38" y="152"/>
                      <a:pt x="22" y="142"/>
                    </a:cubicBezTo>
                    <a:cubicBezTo>
                      <a:pt x="18" y="139"/>
                      <a:pt x="18" y="139"/>
                      <a:pt x="18" y="139"/>
                    </a:cubicBezTo>
                    <a:cubicBezTo>
                      <a:pt x="15" y="143"/>
                      <a:pt x="15" y="143"/>
                      <a:pt x="15" y="143"/>
                    </a:cubicBezTo>
                    <a:cubicBezTo>
                      <a:pt x="2" y="166"/>
                      <a:pt x="2" y="166"/>
                      <a:pt x="2" y="166"/>
                    </a:cubicBezTo>
                    <a:cubicBezTo>
                      <a:pt x="0" y="170"/>
                      <a:pt x="0" y="170"/>
                      <a:pt x="0" y="170"/>
                    </a:cubicBezTo>
                    <a:cubicBezTo>
                      <a:pt x="4" y="172"/>
                      <a:pt x="4" y="172"/>
                      <a:pt x="4" y="172"/>
                    </a:cubicBezTo>
                    <a:cubicBezTo>
                      <a:pt x="18" y="181"/>
                      <a:pt x="42" y="192"/>
                      <a:pt x="77" y="192"/>
                    </a:cubicBezTo>
                    <a:cubicBezTo>
                      <a:pt x="128" y="192"/>
                      <a:pt x="161" y="169"/>
                      <a:pt x="161" y="132"/>
                    </a:cubicBezTo>
                    <a:cubicBezTo>
                      <a:pt x="161" y="88"/>
                      <a:pt x="122" y="82"/>
                      <a:pt x="90" y="7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1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D0C4B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57" name="Freeform 14">
                <a:extLst>
                  <a:ext uri="{FF2B5EF4-FFF2-40B4-BE49-F238E27FC236}">
                    <a16:creationId xmlns:a16="http://schemas.microsoft.com/office/drawing/2014/main" id="{C4DF9B96-5EE8-7D4A-8AA9-55FA583BD8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2427" y="437296"/>
                <a:ext cx="93943" cy="127448"/>
              </a:xfrm>
              <a:custGeom>
                <a:avLst/>
                <a:gdLst>
                  <a:gd name="T0" fmla="*/ 128 w 139"/>
                  <a:gd name="T1" fmla="*/ 103 h 188"/>
                  <a:gd name="T2" fmla="*/ 121 w 139"/>
                  <a:gd name="T3" fmla="*/ 110 h 188"/>
                  <a:gd name="T4" fmla="*/ 38 w 139"/>
                  <a:gd name="T5" fmla="*/ 110 h 188"/>
                  <a:gd name="T6" fmla="*/ 38 w 139"/>
                  <a:gd name="T7" fmla="*/ 153 h 188"/>
                  <a:gd name="T8" fmla="*/ 139 w 139"/>
                  <a:gd name="T9" fmla="*/ 153 h 188"/>
                  <a:gd name="T10" fmla="*/ 139 w 139"/>
                  <a:gd name="T11" fmla="*/ 188 h 188"/>
                  <a:gd name="T12" fmla="*/ 0 w 139"/>
                  <a:gd name="T13" fmla="*/ 188 h 188"/>
                  <a:gd name="T14" fmla="*/ 0 w 139"/>
                  <a:gd name="T15" fmla="*/ 18 h 188"/>
                  <a:gd name="T16" fmla="*/ 19 w 139"/>
                  <a:gd name="T17" fmla="*/ 0 h 188"/>
                  <a:gd name="T18" fmla="*/ 130 w 139"/>
                  <a:gd name="T19" fmla="*/ 0 h 188"/>
                  <a:gd name="T20" fmla="*/ 137 w 139"/>
                  <a:gd name="T21" fmla="*/ 6 h 188"/>
                  <a:gd name="T22" fmla="*/ 137 w 139"/>
                  <a:gd name="T23" fmla="*/ 27 h 188"/>
                  <a:gd name="T24" fmla="*/ 130 w 139"/>
                  <a:gd name="T25" fmla="*/ 34 h 188"/>
                  <a:gd name="T26" fmla="*/ 38 w 139"/>
                  <a:gd name="T27" fmla="*/ 34 h 188"/>
                  <a:gd name="T28" fmla="*/ 38 w 139"/>
                  <a:gd name="T29" fmla="*/ 75 h 188"/>
                  <a:gd name="T30" fmla="*/ 121 w 139"/>
                  <a:gd name="T31" fmla="*/ 75 h 188"/>
                  <a:gd name="T32" fmla="*/ 128 w 139"/>
                  <a:gd name="T33" fmla="*/ 82 h 188"/>
                  <a:gd name="T34" fmla="*/ 128 w 139"/>
                  <a:gd name="T35" fmla="*/ 103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9" h="188">
                    <a:moveTo>
                      <a:pt x="128" y="103"/>
                    </a:moveTo>
                    <a:cubicBezTo>
                      <a:pt x="128" y="107"/>
                      <a:pt x="124" y="110"/>
                      <a:pt x="121" y="110"/>
                    </a:cubicBezTo>
                    <a:cubicBezTo>
                      <a:pt x="38" y="110"/>
                      <a:pt x="38" y="110"/>
                      <a:pt x="38" y="110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139" y="153"/>
                      <a:pt x="139" y="153"/>
                      <a:pt x="139" y="153"/>
                    </a:cubicBezTo>
                    <a:cubicBezTo>
                      <a:pt x="139" y="188"/>
                      <a:pt x="139" y="188"/>
                      <a:pt x="139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9" y="0"/>
                      <a:pt x="19" y="0"/>
                    </a:cubicBezTo>
                    <a:cubicBezTo>
                      <a:pt x="130" y="0"/>
                      <a:pt x="130" y="0"/>
                      <a:pt x="130" y="0"/>
                    </a:cubicBezTo>
                    <a:cubicBezTo>
                      <a:pt x="134" y="0"/>
                      <a:pt x="137" y="2"/>
                      <a:pt x="137" y="6"/>
                    </a:cubicBezTo>
                    <a:cubicBezTo>
                      <a:pt x="137" y="27"/>
                      <a:pt x="137" y="27"/>
                      <a:pt x="137" y="27"/>
                    </a:cubicBezTo>
                    <a:cubicBezTo>
                      <a:pt x="137" y="32"/>
                      <a:pt x="134" y="34"/>
                      <a:pt x="130" y="34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121" y="75"/>
                      <a:pt x="121" y="75"/>
                      <a:pt x="121" y="75"/>
                    </a:cubicBezTo>
                    <a:cubicBezTo>
                      <a:pt x="124" y="75"/>
                      <a:pt x="128" y="77"/>
                      <a:pt x="128" y="82"/>
                    </a:cubicBezTo>
                    <a:lnTo>
                      <a:pt x="128" y="10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1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D0C4B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</p:grp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AF39AB38-E70D-9743-870B-4316F79A9709}"/>
              </a:ext>
            </a:extLst>
          </p:cNvPr>
          <p:cNvSpPr/>
          <p:nvPr/>
        </p:nvSpPr>
        <p:spPr>
          <a:xfrm>
            <a:off x="2686422" y="2618243"/>
            <a:ext cx="186115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ROUGHT TO YOU BY: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2D0C4B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54705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8956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B1F5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30A9F007-8089-4547-A264-BC51342BF9E2}"/>
              </a:ext>
            </a:extLst>
          </p:cNvPr>
          <p:cNvSpPr/>
          <p:nvPr/>
        </p:nvSpPr>
        <p:spPr>
          <a:xfrm rot="10800000">
            <a:off x="4519924" y="-1"/>
            <a:ext cx="4624075" cy="5143500"/>
          </a:xfrm>
          <a:prstGeom prst="rect">
            <a:avLst/>
          </a:prstGeom>
          <a:solidFill>
            <a:srgbClr val="3B1F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158AABF9-CAA8-4646-B3C1-2C5C6B58D98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22304" y="1267477"/>
            <a:ext cx="2588231" cy="2199248"/>
          </a:xfrm>
          <a:prstGeom prst="rect">
            <a:avLst/>
          </a:prstGeom>
        </p:spPr>
      </p:pic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id="{71607CA0-B568-F446-894E-3C775F595E1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5887555" y="2309536"/>
            <a:ext cx="2691239" cy="2286775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FAF90146-A5BD-004C-8B65-6947CEEB08BA}"/>
              </a:ext>
            </a:extLst>
          </p:cNvPr>
          <p:cNvGrpSpPr/>
          <p:nvPr/>
        </p:nvGrpSpPr>
        <p:grpSpPr>
          <a:xfrm>
            <a:off x="5355" y="48104"/>
            <a:ext cx="2790779" cy="5095396"/>
            <a:chOff x="5354" y="48103"/>
            <a:chExt cx="2790779" cy="5095396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4A6A8D71-F214-4D7F-BD96-A0C6B1F0950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354" y="48103"/>
              <a:ext cx="2790779" cy="2493367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12372840-0729-4A61-9A29-B258DC88915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6636" y="2541470"/>
              <a:ext cx="2709497" cy="2602029"/>
            </a:xfrm>
            <a:prstGeom prst="rect">
              <a:avLst/>
            </a:prstGeom>
          </p:spPr>
        </p:pic>
      </p:grpSp>
      <p:sp>
        <p:nvSpPr>
          <p:cNvPr id="16" name="Frame 15">
            <a:extLst>
              <a:ext uri="{FF2B5EF4-FFF2-40B4-BE49-F238E27FC236}">
                <a16:creationId xmlns:a16="http://schemas.microsoft.com/office/drawing/2014/main" id="{34B1554F-0776-BD4A-B8DA-684B38157421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frame">
            <a:avLst>
              <a:gd name="adj1" fmla="val 194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18" name="Title 2">
            <a:extLst>
              <a:ext uri="{FF2B5EF4-FFF2-40B4-BE49-F238E27FC236}">
                <a16:creationId xmlns:a16="http://schemas.microsoft.com/office/drawing/2014/main" id="{993F83ED-71A3-8345-9EC0-7A4D09C78E43}"/>
              </a:ext>
            </a:extLst>
          </p:cNvPr>
          <p:cNvSpPr txBox="1">
            <a:spLocks/>
          </p:cNvSpPr>
          <p:nvPr/>
        </p:nvSpPr>
        <p:spPr>
          <a:xfrm>
            <a:off x="3064724" y="489141"/>
            <a:ext cx="3774941" cy="355998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11" rtl="0" eaLnBrk="1" latinLnBrk="0" hangingPunct="1">
              <a:lnSpc>
                <a:spcPct val="100000"/>
              </a:lnSpc>
              <a:spcBef>
                <a:spcPts val="300"/>
              </a:spcBef>
              <a:buNone/>
              <a:defRPr sz="1600" b="1" kern="1200" cap="none" spc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E" dirty="0">
                <a:solidFill>
                  <a:schemeClr val="bg1"/>
                </a:solidFill>
                <a:latin typeface="Gotham Book" panose="02000504050000020004" pitchFamily="2" charset="0"/>
              </a:rPr>
              <a:t>TV IS A SHARED EXPERIENCE</a:t>
            </a:r>
          </a:p>
        </p:txBody>
      </p:sp>
      <p:sp>
        <p:nvSpPr>
          <p:cNvPr id="20" name="Speech Bubble: Rectangle 23">
            <a:extLst>
              <a:ext uri="{FF2B5EF4-FFF2-40B4-BE49-F238E27FC236}">
                <a16:creationId xmlns:a16="http://schemas.microsoft.com/office/drawing/2014/main" id="{2DB27564-69D3-0B48-B181-A6B6AF15F286}"/>
              </a:ext>
            </a:extLst>
          </p:cNvPr>
          <p:cNvSpPr/>
          <p:nvPr/>
        </p:nvSpPr>
        <p:spPr>
          <a:xfrm>
            <a:off x="6049235" y="2614486"/>
            <a:ext cx="2367879" cy="1200329"/>
          </a:xfrm>
          <a:prstGeom prst="wedgeRectCallout">
            <a:avLst>
              <a:gd name="adj1" fmla="val 58613"/>
              <a:gd name="adj2" fmla="val 24004"/>
            </a:avLst>
          </a:prstGeom>
          <a:noFill/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defTabSz="514337"/>
            <a:r>
              <a:rPr lang="en-IE" dirty="0">
                <a:solidFill>
                  <a:schemeClr val="bg1"/>
                </a:solidFill>
                <a:latin typeface="Gotham Book" panose="02000504050000020004" pitchFamily="2" charset="0"/>
              </a:rPr>
              <a:t>They watch TV with their families, their dog, with a cup of tea on tablets etc. </a:t>
            </a:r>
          </a:p>
        </p:txBody>
      </p:sp>
      <p:sp>
        <p:nvSpPr>
          <p:cNvPr id="21" name="Speech Bubble: Rectangle 23">
            <a:extLst>
              <a:ext uri="{FF2B5EF4-FFF2-40B4-BE49-F238E27FC236}">
                <a16:creationId xmlns:a16="http://schemas.microsoft.com/office/drawing/2014/main" id="{FE0B0105-A276-994F-8C9E-C75FD935C0C4}"/>
              </a:ext>
            </a:extLst>
          </p:cNvPr>
          <p:cNvSpPr/>
          <p:nvPr/>
        </p:nvSpPr>
        <p:spPr>
          <a:xfrm>
            <a:off x="3299324" y="1455626"/>
            <a:ext cx="2234190" cy="1477328"/>
          </a:xfrm>
          <a:prstGeom prst="wedgeRectCallout">
            <a:avLst>
              <a:gd name="adj1" fmla="val -59050"/>
              <a:gd name="adj2" fmla="val 19684"/>
            </a:avLst>
          </a:prstGeom>
          <a:noFill/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defTabSz="514337"/>
            <a:r>
              <a:rPr lang="en-IE" dirty="0">
                <a:solidFill>
                  <a:schemeClr val="bg1"/>
                </a:solidFill>
                <a:latin typeface="Gotham Book" panose="02000504050000020004" pitchFamily="2" charset="0"/>
              </a:rPr>
              <a:t>“I just watch whatever’s on I don’t really mind I just like sitting with my family.”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949FF26-C178-4D9C-902C-596EE3B39F0E}"/>
              </a:ext>
            </a:extLst>
          </p:cNvPr>
          <p:cNvSpPr/>
          <p:nvPr/>
        </p:nvSpPr>
        <p:spPr>
          <a:xfrm>
            <a:off x="7632340" y="170515"/>
            <a:ext cx="125098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1200" dirty="0">
                <a:solidFill>
                  <a:schemeClr val="bg1"/>
                </a:solidFill>
                <a:latin typeface="Gotham Light" pitchFamily="2" charset="0"/>
              </a:rPr>
              <a:t>#KIDSTHESEDAYS</a:t>
            </a:r>
            <a:endParaRPr lang="en-US" sz="1200" dirty="0">
              <a:latin typeface="Gotham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67061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5CFF067E-FB45-4D60-9826-37C905BA224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95717713"/>
              </p:ext>
            </p:extLst>
          </p:nvPr>
        </p:nvGraphicFramePr>
        <p:xfrm>
          <a:off x="5171488" y="782075"/>
          <a:ext cx="3296823" cy="3297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CD306AD4-37FD-4DD3-B7D5-15272E05232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210841"/>
              </p:ext>
            </p:extLst>
          </p:nvPr>
        </p:nvGraphicFramePr>
        <p:xfrm>
          <a:off x="844263" y="859812"/>
          <a:ext cx="3305749" cy="32407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Frame 10">
            <a:extLst>
              <a:ext uri="{FF2B5EF4-FFF2-40B4-BE49-F238E27FC236}">
                <a16:creationId xmlns:a16="http://schemas.microsoft.com/office/drawing/2014/main" id="{A80A0DC5-9C8F-F948-B8F0-68B54695106F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frame">
            <a:avLst>
              <a:gd name="adj1" fmla="val 194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D0C4B"/>
              </a:solidFill>
              <a:effectLst/>
              <a:uLnTx/>
              <a:uFillTx/>
              <a:latin typeface="Gotham Book" panose="02000504050000020004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235E3D-FFC4-4679-B2D3-280FF46FF47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719138" y="342900"/>
            <a:ext cx="8424862" cy="708025"/>
          </a:xfrm>
        </p:spPr>
        <p:txBody>
          <a:bodyPr/>
          <a:lstStyle/>
          <a:p>
            <a:r>
              <a:rPr lang="en-IE" dirty="0">
                <a:solidFill>
                  <a:schemeClr val="bg1"/>
                </a:solidFill>
                <a:latin typeface="Gotham Book" panose="02000504050000020004" pitchFamily="2" charset="0"/>
              </a:rPr>
              <a:t>AV – SHARE OF VIEWING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F82726A-84E5-4C8B-BF3C-4F91E8EE01D0}"/>
              </a:ext>
            </a:extLst>
          </p:cNvPr>
          <p:cNvSpPr txBox="1"/>
          <p:nvPr/>
        </p:nvSpPr>
        <p:spPr>
          <a:xfrm>
            <a:off x="2138705" y="2310924"/>
            <a:ext cx="71686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Book" panose="02000504050000020004" pitchFamily="2" charset="0"/>
              </a:rPr>
              <a:t>TEEN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E35FE69-3E59-433A-A32F-6E93B27912F2}"/>
              </a:ext>
            </a:extLst>
          </p:cNvPr>
          <p:cNvSpPr txBox="1"/>
          <p:nvPr/>
        </p:nvSpPr>
        <p:spPr>
          <a:xfrm>
            <a:off x="6398148" y="2138587"/>
            <a:ext cx="84350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Book" panose="02000504050000020004" pitchFamily="2" charset="0"/>
              </a:rPr>
              <a:t>18+ </a:t>
            </a:r>
            <a:br>
              <a:rPr kumimoji="0" lang="en-IE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Book" panose="02000504050000020004" pitchFamily="2" charset="0"/>
              </a:rPr>
            </a:br>
            <a:r>
              <a:rPr kumimoji="0" lang="en-IE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Book" panose="02000504050000020004" pitchFamily="2" charset="0"/>
              </a:rPr>
              <a:t>ADUL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AFB2473-1EDB-46DA-B866-AB46F3002E7C}"/>
              </a:ext>
            </a:extLst>
          </p:cNvPr>
          <p:cNvSpPr txBox="1"/>
          <p:nvPr/>
        </p:nvSpPr>
        <p:spPr>
          <a:xfrm>
            <a:off x="261881" y="3791047"/>
            <a:ext cx="447051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3200" b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Bold" panose="02000504050000020004" pitchFamily="2" charset="0"/>
              </a:rPr>
              <a:t>241</a:t>
            </a:r>
            <a:r>
              <a:rPr kumimoji="0" lang="en-IE" sz="32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Book" panose="02000504050000020004" pitchFamily="2" charset="0"/>
              </a:rPr>
              <a:t> </a:t>
            </a:r>
            <a:br>
              <a:rPr kumimoji="0" lang="en-IE" sz="32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Book" panose="02000504050000020004" pitchFamily="2" charset="0"/>
              </a:rPr>
            </a:br>
            <a:r>
              <a:rPr kumimoji="0" lang="en-IE" sz="16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Book" panose="02000504050000020004" pitchFamily="2" charset="0"/>
              </a:rPr>
              <a:t>daily mins spent watching AV content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30D173B0-8C46-45AE-BE22-DEC10641212C}"/>
              </a:ext>
            </a:extLst>
          </p:cNvPr>
          <p:cNvSpPr/>
          <p:nvPr/>
        </p:nvSpPr>
        <p:spPr>
          <a:xfrm>
            <a:off x="9432540" y="-1028650"/>
            <a:ext cx="914400" cy="9144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Book" panose="02000504050000020004" pitchFamily="2" charset="0"/>
              </a:rPr>
              <a:t>HERO SLID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4B90D7E-F084-DA4F-BC28-D1F4F9D7168B}"/>
              </a:ext>
            </a:extLst>
          </p:cNvPr>
          <p:cNvSpPr txBox="1"/>
          <p:nvPr/>
        </p:nvSpPr>
        <p:spPr>
          <a:xfrm>
            <a:off x="4569760" y="3791046"/>
            <a:ext cx="447051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3200" b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Bold" panose="02000504050000020004" pitchFamily="2" charset="0"/>
              </a:rPr>
              <a:t>211</a:t>
            </a:r>
            <a:r>
              <a:rPr kumimoji="0" lang="en-IE" sz="32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Book" panose="02000504050000020004" pitchFamily="2" charset="0"/>
              </a:rPr>
              <a:t> </a:t>
            </a:r>
            <a:br>
              <a:rPr kumimoji="0" lang="en-IE" sz="32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Book" panose="02000504050000020004" pitchFamily="2" charset="0"/>
              </a:rPr>
            </a:br>
            <a:r>
              <a:rPr kumimoji="0" lang="en-IE" sz="16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Book" panose="02000504050000020004" pitchFamily="2" charset="0"/>
              </a:rPr>
              <a:t>daily mins spent watching AV conten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F1F2C5E-0B5D-433B-9932-FBB19B32C56A}"/>
              </a:ext>
            </a:extLst>
          </p:cNvPr>
          <p:cNvSpPr/>
          <p:nvPr/>
        </p:nvSpPr>
        <p:spPr>
          <a:xfrm>
            <a:off x="7632340" y="170515"/>
            <a:ext cx="125098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1200" dirty="0">
                <a:solidFill>
                  <a:schemeClr val="bg1"/>
                </a:solidFill>
                <a:latin typeface="Gotham Light" pitchFamily="2" charset="0"/>
              </a:rPr>
              <a:t>#KIDSTHESEDAYS</a:t>
            </a:r>
            <a:endParaRPr lang="en-US" sz="1200" dirty="0">
              <a:latin typeface="Gotham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29487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0" categoryIdx="0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>
                                            <p:graphicEl>
                                              <a:chart seriesIdx="0" categoryIdx="0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0" categoryIdx="1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graphicEl>
                                              <a:chart seriesIdx="0" categoryIdx="1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0" categoryIdx="2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graphicEl>
                                              <a:chart seriesIdx="0" categoryIdx="2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0" categoryIdx="3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>
                                            <p:graphicEl>
                                              <a:chart seriesIdx="0" categoryIdx="3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0" categoryIdx="0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">
                                            <p:graphicEl>
                                              <a:chart seriesIdx="0" categoryIdx="0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0" categoryIdx="1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5">
                                            <p:graphicEl>
                                              <a:chart seriesIdx="0" categoryIdx="1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0" categoryIdx="2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5">
                                            <p:graphicEl>
                                              <a:chart seriesIdx="0" categoryIdx="2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0" categoryIdx="3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5">
                                            <p:graphicEl>
                                              <a:chart seriesIdx="0" categoryIdx="3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Sub>
          <a:bldChart bld="seriesEl"/>
        </p:bldSub>
      </p:bldGraphic>
      <p:bldGraphic spid="3" grpId="0" uiExpand="1">
        <p:bldSub>
          <a:bldChart bld="seriesEl"/>
        </p:bldSub>
      </p:bldGraphic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Online Media 20" descr="shutterstock_25509614.mov">
            <a:hlinkClick r:id="" action="ppaction://media"/>
            <a:extLst>
              <a:ext uri="{FF2B5EF4-FFF2-40B4-BE49-F238E27FC236}">
                <a16:creationId xmlns:a16="http://schemas.microsoft.com/office/drawing/2014/main" id="{8965FD2C-3107-CE4F-8FDA-C58ADC094026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r="5094"/>
          <a:stretch/>
        </p:blipFill>
        <p:spPr>
          <a:xfrm>
            <a:off x="29565" y="43737"/>
            <a:ext cx="9097837" cy="5056026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FDF7BD17-B27F-9144-B82F-BE43C406A733}"/>
              </a:ext>
            </a:extLst>
          </p:cNvPr>
          <p:cNvSpPr/>
          <p:nvPr/>
        </p:nvSpPr>
        <p:spPr>
          <a:xfrm>
            <a:off x="0" y="0"/>
            <a:ext cx="9127402" cy="5143500"/>
          </a:xfrm>
          <a:prstGeom prst="rect">
            <a:avLst/>
          </a:prstGeom>
          <a:gradFill flip="none" rotWithShape="1">
            <a:gsLst>
              <a:gs pos="0">
                <a:schemeClr val="accent2">
                  <a:alpha val="58000"/>
                </a:schemeClr>
              </a:gs>
              <a:gs pos="54000">
                <a:schemeClr val="accent3">
                  <a:lumMod val="50000"/>
                  <a:alpha val="80000"/>
                </a:schemeClr>
              </a:gs>
              <a:gs pos="99000">
                <a:srgbClr val="683C92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rame 4">
            <a:extLst>
              <a:ext uri="{FF2B5EF4-FFF2-40B4-BE49-F238E27FC236}">
                <a16:creationId xmlns:a16="http://schemas.microsoft.com/office/drawing/2014/main" id="{A0C64826-0F6B-2642-9F45-A70358F28DE6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frame">
            <a:avLst>
              <a:gd name="adj1" fmla="val 194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B84FDEF-8E72-E84E-8EE0-8FA235C143FE}"/>
              </a:ext>
            </a:extLst>
          </p:cNvPr>
          <p:cNvSpPr txBox="1"/>
          <p:nvPr/>
        </p:nvSpPr>
        <p:spPr>
          <a:xfrm>
            <a:off x="467544" y="1792644"/>
            <a:ext cx="572463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E" sz="4400" dirty="0">
                <a:solidFill>
                  <a:schemeClr val="bg1"/>
                </a:solidFill>
                <a:latin typeface="Gotham Book" panose="02000504050000020004" pitchFamily="2" charset="0"/>
              </a:rPr>
              <a:t>TV is not dead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2FF465B-1837-8B4B-B907-A1870D99E38F}"/>
              </a:ext>
            </a:extLst>
          </p:cNvPr>
          <p:cNvGrpSpPr>
            <a:grpSpLocks noChangeAspect="1"/>
          </p:cNvGrpSpPr>
          <p:nvPr/>
        </p:nvGrpSpPr>
        <p:grpSpPr>
          <a:xfrm>
            <a:off x="7308304" y="4417898"/>
            <a:ext cx="1603826" cy="494112"/>
            <a:chOff x="5043330" y="2582427"/>
            <a:chExt cx="2714033" cy="836158"/>
          </a:xfrm>
        </p:grpSpPr>
        <p:pic>
          <p:nvPicPr>
            <p:cNvPr id="8" name="logo graphic">
              <a:extLst>
                <a:ext uri="{FF2B5EF4-FFF2-40B4-BE49-F238E27FC236}">
                  <a16:creationId xmlns:a16="http://schemas.microsoft.com/office/drawing/2014/main" id="{BB0CBF78-3448-DE4F-B287-F379981B5D9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21205" y="2582427"/>
              <a:ext cx="836158" cy="836158"/>
            </a:xfrm>
            <a:prstGeom prst="rect">
              <a:avLst/>
            </a:prstGeom>
          </p:spPr>
        </p:pic>
        <p:grpSp>
          <p:nvGrpSpPr>
            <p:cNvPr id="9" name="letters">
              <a:extLst>
                <a:ext uri="{FF2B5EF4-FFF2-40B4-BE49-F238E27FC236}">
                  <a16:creationId xmlns:a16="http://schemas.microsoft.com/office/drawing/2014/main" id="{C165F4B8-9AE1-8048-A383-C501F5907010}"/>
                </a:ext>
              </a:extLst>
            </p:cNvPr>
            <p:cNvGrpSpPr/>
            <p:nvPr/>
          </p:nvGrpSpPr>
          <p:grpSpPr>
            <a:xfrm>
              <a:off x="5043330" y="2901718"/>
              <a:ext cx="1777426" cy="197580"/>
              <a:chOff x="566670" y="435864"/>
              <a:chExt cx="1169700" cy="130025"/>
            </a:xfrm>
            <a:solidFill>
              <a:srgbClr val="FFFFFF"/>
            </a:solidFill>
          </p:grpSpPr>
          <p:sp>
            <p:nvSpPr>
              <p:cNvPr id="10" name="Freeform 6">
                <a:extLst>
                  <a:ext uri="{FF2B5EF4-FFF2-40B4-BE49-F238E27FC236}">
                    <a16:creationId xmlns:a16="http://schemas.microsoft.com/office/drawing/2014/main" id="{DB42391E-B29D-2647-AD31-95D47809AD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670" y="437296"/>
                <a:ext cx="146069" cy="127448"/>
              </a:xfrm>
              <a:custGeom>
                <a:avLst/>
                <a:gdLst>
                  <a:gd name="T0" fmla="*/ 216 w 216"/>
                  <a:gd name="T1" fmla="*/ 188 h 188"/>
                  <a:gd name="T2" fmla="*/ 178 w 216"/>
                  <a:gd name="T3" fmla="*/ 188 h 188"/>
                  <a:gd name="T4" fmla="*/ 178 w 216"/>
                  <a:gd name="T5" fmla="*/ 66 h 188"/>
                  <a:gd name="T6" fmla="*/ 113 w 216"/>
                  <a:gd name="T7" fmla="*/ 145 h 188"/>
                  <a:gd name="T8" fmla="*/ 103 w 216"/>
                  <a:gd name="T9" fmla="*/ 145 h 188"/>
                  <a:gd name="T10" fmla="*/ 38 w 216"/>
                  <a:gd name="T11" fmla="*/ 66 h 188"/>
                  <a:gd name="T12" fmla="*/ 38 w 216"/>
                  <a:gd name="T13" fmla="*/ 188 h 188"/>
                  <a:gd name="T14" fmla="*/ 0 w 216"/>
                  <a:gd name="T15" fmla="*/ 188 h 188"/>
                  <a:gd name="T16" fmla="*/ 0 w 216"/>
                  <a:gd name="T17" fmla="*/ 20 h 188"/>
                  <a:gd name="T18" fmla="*/ 20 w 216"/>
                  <a:gd name="T19" fmla="*/ 0 h 188"/>
                  <a:gd name="T20" fmla="*/ 20 w 216"/>
                  <a:gd name="T21" fmla="*/ 0 h 188"/>
                  <a:gd name="T22" fmla="*/ 38 w 216"/>
                  <a:gd name="T23" fmla="*/ 9 h 188"/>
                  <a:gd name="T24" fmla="*/ 108 w 216"/>
                  <a:gd name="T25" fmla="*/ 94 h 188"/>
                  <a:gd name="T26" fmla="*/ 182 w 216"/>
                  <a:gd name="T27" fmla="*/ 6 h 188"/>
                  <a:gd name="T28" fmla="*/ 196 w 216"/>
                  <a:gd name="T29" fmla="*/ 0 h 188"/>
                  <a:gd name="T30" fmla="*/ 196 w 216"/>
                  <a:gd name="T31" fmla="*/ 0 h 188"/>
                  <a:gd name="T32" fmla="*/ 216 w 216"/>
                  <a:gd name="T33" fmla="*/ 19 h 188"/>
                  <a:gd name="T34" fmla="*/ 216 w 216"/>
                  <a:gd name="T35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16" h="188">
                    <a:moveTo>
                      <a:pt x="216" y="188"/>
                    </a:moveTo>
                    <a:cubicBezTo>
                      <a:pt x="178" y="188"/>
                      <a:pt x="178" y="188"/>
                      <a:pt x="178" y="188"/>
                    </a:cubicBezTo>
                    <a:cubicBezTo>
                      <a:pt x="178" y="66"/>
                      <a:pt x="178" y="66"/>
                      <a:pt x="178" y="66"/>
                    </a:cubicBezTo>
                    <a:cubicBezTo>
                      <a:pt x="113" y="145"/>
                      <a:pt x="113" y="145"/>
                      <a:pt x="113" y="145"/>
                    </a:cubicBezTo>
                    <a:cubicBezTo>
                      <a:pt x="110" y="148"/>
                      <a:pt x="106" y="148"/>
                      <a:pt x="103" y="145"/>
                    </a:cubicBezTo>
                    <a:cubicBezTo>
                      <a:pt x="38" y="66"/>
                      <a:pt x="38" y="66"/>
                      <a:pt x="38" y="66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8" y="0"/>
                      <a:pt x="32" y="3"/>
                      <a:pt x="38" y="9"/>
                    </a:cubicBezTo>
                    <a:cubicBezTo>
                      <a:pt x="108" y="94"/>
                      <a:pt x="108" y="94"/>
                      <a:pt x="108" y="94"/>
                    </a:cubicBezTo>
                    <a:cubicBezTo>
                      <a:pt x="182" y="6"/>
                      <a:pt x="182" y="6"/>
                      <a:pt x="182" y="6"/>
                    </a:cubicBezTo>
                    <a:cubicBezTo>
                      <a:pt x="185" y="2"/>
                      <a:pt x="190" y="0"/>
                      <a:pt x="196" y="0"/>
                    </a:cubicBezTo>
                    <a:cubicBezTo>
                      <a:pt x="196" y="0"/>
                      <a:pt x="196" y="0"/>
                      <a:pt x="196" y="0"/>
                    </a:cubicBezTo>
                    <a:cubicBezTo>
                      <a:pt x="207" y="0"/>
                      <a:pt x="216" y="8"/>
                      <a:pt x="216" y="19"/>
                    </a:cubicBezTo>
                    <a:lnTo>
                      <a:pt x="216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1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D0C4B"/>
                  </a:solidFill>
                  <a:effectLst/>
                  <a:uLnTx/>
                  <a:uFillTx/>
                  <a:sym typeface="Arial"/>
                </a:endParaRPr>
              </a:p>
            </p:txBody>
          </p:sp>
          <p:sp>
            <p:nvSpPr>
              <p:cNvPr id="11" name="Freeform 7">
                <a:extLst>
                  <a:ext uri="{FF2B5EF4-FFF2-40B4-BE49-F238E27FC236}">
                    <a16:creationId xmlns:a16="http://schemas.microsoft.com/office/drawing/2014/main" id="{6EB1022B-5C81-1C4C-B510-01C8188466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50862" y="436723"/>
                <a:ext cx="146069" cy="128020"/>
              </a:xfrm>
              <a:custGeom>
                <a:avLst/>
                <a:gdLst>
                  <a:gd name="T0" fmla="*/ 0 w 216"/>
                  <a:gd name="T1" fmla="*/ 189 h 189"/>
                  <a:gd name="T2" fmla="*/ 42 w 216"/>
                  <a:gd name="T3" fmla="*/ 189 h 189"/>
                  <a:gd name="T4" fmla="*/ 66 w 216"/>
                  <a:gd name="T5" fmla="*/ 138 h 189"/>
                  <a:gd name="T6" fmla="*/ 148 w 216"/>
                  <a:gd name="T7" fmla="*/ 138 h 189"/>
                  <a:gd name="T8" fmla="*/ 174 w 216"/>
                  <a:gd name="T9" fmla="*/ 189 h 189"/>
                  <a:gd name="T10" fmla="*/ 216 w 216"/>
                  <a:gd name="T11" fmla="*/ 189 h 189"/>
                  <a:gd name="T12" fmla="*/ 124 w 216"/>
                  <a:gd name="T13" fmla="*/ 9 h 189"/>
                  <a:gd name="T14" fmla="*/ 106 w 216"/>
                  <a:gd name="T15" fmla="*/ 0 h 189"/>
                  <a:gd name="T16" fmla="*/ 106 w 216"/>
                  <a:gd name="T17" fmla="*/ 0 h 189"/>
                  <a:gd name="T18" fmla="*/ 89 w 216"/>
                  <a:gd name="T19" fmla="*/ 9 h 189"/>
                  <a:gd name="T20" fmla="*/ 0 w 216"/>
                  <a:gd name="T21" fmla="*/ 189 h 189"/>
                  <a:gd name="T22" fmla="*/ 106 w 216"/>
                  <a:gd name="T23" fmla="*/ 55 h 189"/>
                  <a:gd name="T24" fmla="*/ 133 w 216"/>
                  <a:gd name="T25" fmla="*/ 108 h 189"/>
                  <a:gd name="T26" fmla="*/ 81 w 216"/>
                  <a:gd name="T27" fmla="*/ 108 h 189"/>
                  <a:gd name="T28" fmla="*/ 106 w 216"/>
                  <a:gd name="T29" fmla="*/ 55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16" h="189">
                    <a:moveTo>
                      <a:pt x="0" y="189"/>
                    </a:moveTo>
                    <a:cubicBezTo>
                      <a:pt x="42" y="189"/>
                      <a:pt x="42" y="189"/>
                      <a:pt x="42" y="189"/>
                    </a:cubicBezTo>
                    <a:cubicBezTo>
                      <a:pt x="66" y="138"/>
                      <a:pt x="66" y="138"/>
                      <a:pt x="66" y="138"/>
                    </a:cubicBezTo>
                    <a:cubicBezTo>
                      <a:pt x="148" y="138"/>
                      <a:pt x="148" y="138"/>
                      <a:pt x="148" y="138"/>
                    </a:cubicBezTo>
                    <a:cubicBezTo>
                      <a:pt x="174" y="189"/>
                      <a:pt x="174" y="189"/>
                      <a:pt x="174" y="189"/>
                    </a:cubicBezTo>
                    <a:cubicBezTo>
                      <a:pt x="216" y="189"/>
                      <a:pt x="216" y="189"/>
                      <a:pt x="216" y="189"/>
                    </a:cubicBezTo>
                    <a:cubicBezTo>
                      <a:pt x="124" y="9"/>
                      <a:pt x="124" y="9"/>
                      <a:pt x="124" y="9"/>
                    </a:cubicBezTo>
                    <a:cubicBezTo>
                      <a:pt x="120" y="3"/>
                      <a:pt x="114" y="0"/>
                      <a:pt x="106" y="0"/>
                    </a:cubicBezTo>
                    <a:cubicBezTo>
                      <a:pt x="106" y="0"/>
                      <a:pt x="106" y="0"/>
                      <a:pt x="106" y="0"/>
                    </a:cubicBezTo>
                    <a:cubicBezTo>
                      <a:pt x="99" y="0"/>
                      <a:pt x="93" y="3"/>
                      <a:pt x="89" y="9"/>
                    </a:cubicBezTo>
                    <a:lnTo>
                      <a:pt x="0" y="189"/>
                    </a:lnTo>
                    <a:close/>
                    <a:moveTo>
                      <a:pt x="106" y="55"/>
                    </a:moveTo>
                    <a:cubicBezTo>
                      <a:pt x="133" y="108"/>
                      <a:pt x="133" y="108"/>
                      <a:pt x="133" y="108"/>
                    </a:cubicBezTo>
                    <a:cubicBezTo>
                      <a:pt x="81" y="108"/>
                      <a:pt x="81" y="108"/>
                      <a:pt x="81" y="108"/>
                    </a:cubicBezTo>
                    <a:lnTo>
                      <a:pt x="106" y="5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1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D0C4B"/>
                  </a:solidFill>
                  <a:effectLst/>
                  <a:uLnTx/>
                  <a:uFillTx/>
                  <a:sym typeface="Arial"/>
                </a:endParaRPr>
              </a:p>
            </p:txBody>
          </p:sp>
          <p:sp>
            <p:nvSpPr>
              <p:cNvPr id="12" name="Freeform 8">
                <a:extLst>
                  <a:ext uri="{FF2B5EF4-FFF2-40B4-BE49-F238E27FC236}">
                    <a16:creationId xmlns:a16="http://schemas.microsoft.com/office/drawing/2014/main" id="{0D9C2086-2DC0-4247-BF9F-8C0715186D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9211" y="437296"/>
                <a:ext cx="128598" cy="127448"/>
              </a:xfrm>
              <a:custGeom>
                <a:avLst/>
                <a:gdLst>
                  <a:gd name="T0" fmla="*/ 190 w 190"/>
                  <a:gd name="T1" fmla="*/ 188 h 188"/>
                  <a:gd name="T2" fmla="*/ 163 w 190"/>
                  <a:gd name="T3" fmla="*/ 188 h 188"/>
                  <a:gd name="T4" fmla="*/ 38 w 190"/>
                  <a:gd name="T5" fmla="*/ 62 h 188"/>
                  <a:gd name="T6" fmla="*/ 38 w 190"/>
                  <a:gd name="T7" fmla="*/ 188 h 188"/>
                  <a:gd name="T8" fmla="*/ 0 w 190"/>
                  <a:gd name="T9" fmla="*/ 188 h 188"/>
                  <a:gd name="T10" fmla="*/ 0 w 190"/>
                  <a:gd name="T11" fmla="*/ 20 h 188"/>
                  <a:gd name="T12" fmla="*/ 21 w 190"/>
                  <a:gd name="T13" fmla="*/ 0 h 188"/>
                  <a:gd name="T14" fmla="*/ 21 w 190"/>
                  <a:gd name="T15" fmla="*/ 0 h 188"/>
                  <a:gd name="T16" fmla="*/ 36 w 190"/>
                  <a:gd name="T17" fmla="*/ 6 h 188"/>
                  <a:gd name="T18" fmla="*/ 152 w 190"/>
                  <a:gd name="T19" fmla="*/ 123 h 188"/>
                  <a:gd name="T20" fmla="*/ 152 w 190"/>
                  <a:gd name="T21" fmla="*/ 12 h 188"/>
                  <a:gd name="T22" fmla="*/ 165 w 190"/>
                  <a:gd name="T23" fmla="*/ 0 h 188"/>
                  <a:gd name="T24" fmla="*/ 178 w 190"/>
                  <a:gd name="T25" fmla="*/ 0 h 188"/>
                  <a:gd name="T26" fmla="*/ 190 w 190"/>
                  <a:gd name="T27" fmla="*/ 12 h 188"/>
                  <a:gd name="T28" fmla="*/ 190 w 190"/>
                  <a:gd name="T29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0" h="188">
                    <a:moveTo>
                      <a:pt x="190" y="188"/>
                    </a:moveTo>
                    <a:cubicBezTo>
                      <a:pt x="163" y="188"/>
                      <a:pt x="163" y="188"/>
                      <a:pt x="163" y="188"/>
                    </a:cubicBezTo>
                    <a:cubicBezTo>
                      <a:pt x="38" y="62"/>
                      <a:pt x="38" y="62"/>
                      <a:pt x="38" y="62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1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7" y="0"/>
                      <a:pt x="32" y="2"/>
                      <a:pt x="36" y="6"/>
                    </a:cubicBezTo>
                    <a:cubicBezTo>
                      <a:pt x="152" y="123"/>
                      <a:pt x="152" y="123"/>
                      <a:pt x="152" y="123"/>
                    </a:cubicBezTo>
                    <a:cubicBezTo>
                      <a:pt x="152" y="12"/>
                      <a:pt x="152" y="12"/>
                      <a:pt x="152" y="12"/>
                    </a:cubicBezTo>
                    <a:cubicBezTo>
                      <a:pt x="152" y="5"/>
                      <a:pt x="158" y="0"/>
                      <a:pt x="165" y="0"/>
                    </a:cubicBezTo>
                    <a:cubicBezTo>
                      <a:pt x="178" y="0"/>
                      <a:pt x="178" y="0"/>
                      <a:pt x="178" y="0"/>
                    </a:cubicBezTo>
                    <a:cubicBezTo>
                      <a:pt x="185" y="0"/>
                      <a:pt x="190" y="5"/>
                      <a:pt x="190" y="12"/>
                    </a:cubicBezTo>
                    <a:lnTo>
                      <a:pt x="190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1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D0C4B"/>
                  </a:solidFill>
                  <a:effectLst/>
                  <a:uLnTx/>
                  <a:uFillTx/>
                  <a:sym typeface="Arial"/>
                </a:endParaRPr>
              </a:p>
            </p:txBody>
          </p:sp>
          <p:sp>
            <p:nvSpPr>
              <p:cNvPr id="13" name="Freeform 9">
                <a:extLst>
                  <a:ext uri="{FF2B5EF4-FFF2-40B4-BE49-F238E27FC236}">
                    <a16:creationId xmlns:a16="http://schemas.microsoft.com/office/drawing/2014/main" id="{10C31AAE-3032-4C4D-B510-75FEBEAB1CA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3586" y="437296"/>
                <a:ext cx="127739" cy="127448"/>
              </a:xfrm>
              <a:custGeom>
                <a:avLst/>
                <a:gdLst>
                  <a:gd name="T0" fmla="*/ 117 w 189"/>
                  <a:gd name="T1" fmla="*/ 4 h 188"/>
                  <a:gd name="T2" fmla="*/ 72 w 189"/>
                  <a:gd name="T3" fmla="*/ 0 h 188"/>
                  <a:gd name="T4" fmla="*/ 19 w 189"/>
                  <a:gd name="T5" fmla="*/ 0 h 188"/>
                  <a:gd name="T6" fmla="*/ 0 w 189"/>
                  <a:gd name="T7" fmla="*/ 18 h 188"/>
                  <a:gd name="T8" fmla="*/ 0 w 189"/>
                  <a:gd name="T9" fmla="*/ 188 h 188"/>
                  <a:gd name="T10" fmla="*/ 62 w 189"/>
                  <a:gd name="T11" fmla="*/ 188 h 188"/>
                  <a:gd name="T12" fmla="*/ 115 w 189"/>
                  <a:gd name="T13" fmla="*/ 182 h 188"/>
                  <a:gd name="T14" fmla="*/ 189 w 189"/>
                  <a:gd name="T15" fmla="*/ 91 h 188"/>
                  <a:gd name="T16" fmla="*/ 117 w 189"/>
                  <a:gd name="T17" fmla="*/ 4 h 188"/>
                  <a:gd name="T18" fmla="*/ 105 w 189"/>
                  <a:gd name="T19" fmla="*/ 148 h 188"/>
                  <a:gd name="T20" fmla="*/ 62 w 189"/>
                  <a:gd name="T21" fmla="*/ 153 h 188"/>
                  <a:gd name="T22" fmla="*/ 62 w 189"/>
                  <a:gd name="T23" fmla="*/ 153 h 188"/>
                  <a:gd name="T24" fmla="*/ 38 w 189"/>
                  <a:gd name="T25" fmla="*/ 153 h 188"/>
                  <a:gd name="T26" fmla="*/ 38 w 189"/>
                  <a:gd name="T27" fmla="*/ 153 h 188"/>
                  <a:gd name="T28" fmla="*/ 38 w 189"/>
                  <a:gd name="T29" fmla="*/ 34 h 188"/>
                  <a:gd name="T30" fmla="*/ 38 w 189"/>
                  <a:gd name="T31" fmla="*/ 34 h 188"/>
                  <a:gd name="T32" fmla="*/ 68 w 189"/>
                  <a:gd name="T33" fmla="*/ 34 h 188"/>
                  <a:gd name="T34" fmla="*/ 68 w 189"/>
                  <a:gd name="T35" fmla="*/ 34 h 188"/>
                  <a:gd name="T36" fmla="*/ 107 w 189"/>
                  <a:gd name="T37" fmla="*/ 38 h 188"/>
                  <a:gd name="T38" fmla="*/ 150 w 189"/>
                  <a:gd name="T39" fmla="*/ 91 h 188"/>
                  <a:gd name="T40" fmla="*/ 105 w 189"/>
                  <a:gd name="T41" fmla="*/ 14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89" h="188">
                    <a:moveTo>
                      <a:pt x="117" y="4"/>
                    </a:moveTo>
                    <a:cubicBezTo>
                      <a:pt x="104" y="1"/>
                      <a:pt x="89" y="0"/>
                      <a:pt x="72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9" y="0"/>
                      <a:pt x="0" y="8"/>
                      <a:pt x="0" y="1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62" y="188"/>
                      <a:pt x="62" y="188"/>
                      <a:pt x="62" y="188"/>
                    </a:cubicBezTo>
                    <a:cubicBezTo>
                      <a:pt x="84" y="188"/>
                      <a:pt x="100" y="186"/>
                      <a:pt x="115" y="182"/>
                    </a:cubicBezTo>
                    <a:cubicBezTo>
                      <a:pt x="163" y="168"/>
                      <a:pt x="189" y="136"/>
                      <a:pt x="189" y="91"/>
                    </a:cubicBezTo>
                    <a:cubicBezTo>
                      <a:pt x="189" y="46"/>
                      <a:pt x="164" y="15"/>
                      <a:pt x="117" y="4"/>
                    </a:cubicBezTo>
                    <a:close/>
                    <a:moveTo>
                      <a:pt x="105" y="148"/>
                    </a:moveTo>
                    <a:cubicBezTo>
                      <a:pt x="94" y="151"/>
                      <a:pt x="79" y="153"/>
                      <a:pt x="62" y="153"/>
                    </a:cubicBezTo>
                    <a:cubicBezTo>
                      <a:pt x="62" y="153"/>
                      <a:pt x="62" y="153"/>
                      <a:pt x="62" y="153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68" y="34"/>
                      <a:pt x="68" y="34"/>
                      <a:pt x="68" y="34"/>
                    </a:cubicBezTo>
                    <a:cubicBezTo>
                      <a:pt x="68" y="34"/>
                      <a:pt x="68" y="34"/>
                      <a:pt x="68" y="34"/>
                    </a:cubicBezTo>
                    <a:cubicBezTo>
                      <a:pt x="86" y="34"/>
                      <a:pt x="97" y="35"/>
                      <a:pt x="107" y="38"/>
                    </a:cubicBezTo>
                    <a:cubicBezTo>
                      <a:pt x="136" y="46"/>
                      <a:pt x="150" y="63"/>
                      <a:pt x="150" y="91"/>
                    </a:cubicBezTo>
                    <a:cubicBezTo>
                      <a:pt x="150" y="120"/>
                      <a:pt x="135" y="139"/>
                      <a:pt x="105" y="14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1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D0C4B"/>
                  </a:solidFill>
                  <a:effectLst/>
                  <a:uLnTx/>
                  <a:uFillTx/>
                  <a:sym typeface="Arial"/>
                </a:endParaRPr>
              </a:p>
            </p:txBody>
          </p:sp>
          <p:sp>
            <p:nvSpPr>
              <p:cNvPr id="14" name="Freeform 10">
                <a:extLst>
                  <a:ext uri="{FF2B5EF4-FFF2-40B4-BE49-F238E27FC236}">
                    <a16:creationId xmlns:a16="http://schemas.microsoft.com/office/drawing/2014/main" id="{83C3BAB0-2A07-9345-9479-85D9F750A6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13256" y="437296"/>
                <a:ext cx="110841" cy="127448"/>
              </a:xfrm>
              <a:custGeom>
                <a:avLst/>
                <a:gdLst>
                  <a:gd name="T0" fmla="*/ 113 w 164"/>
                  <a:gd name="T1" fmla="*/ 113 h 188"/>
                  <a:gd name="T2" fmla="*/ 158 w 164"/>
                  <a:gd name="T3" fmla="*/ 58 h 188"/>
                  <a:gd name="T4" fmla="*/ 82 w 164"/>
                  <a:gd name="T5" fmla="*/ 0 h 188"/>
                  <a:gd name="T6" fmla="*/ 19 w 164"/>
                  <a:gd name="T7" fmla="*/ 0 h 188"/>
                  <a:gd name="T8" fmla="*/ 0 w 164"/>
                  <a:gd name="T9" fmla="*/ 18 h 188"/>
                  <a:gd name="T10" fmla="*/ 0 w 164"/>
                  <a:gd name="T11" fmla="*/ 188 h 188"/>
                  <a:gd name="T12" fmla="*/ 38 w 164"/>
                  <a:gd name="T13" fmla="*/ 188 h 188"/>
                  <a:gd name="T14" fmla="*/ 38 w 164"/>
                  <a:gd name="T15" fmla="*/ 118 h 188"/>
                  <a:gd name="T16" fmla="*/ 72 w 164"/>
                  <a:gd name="T17" fmla="*/ 118 h 188"/>
                  <a:gd name="T18" fmla="*/ 119 w 164"/>
                  <a:gd name="T19" fmla="*/ 188 h 188"/>
                  <a:gd name="T20" fmla="*/ 164 w 164"/>
                  <a:gd name="T21" fmla="*/ 188 h 188"/>
                  <a:gd name="T22" fmla="*/ 113 w 164"/>
                  <a:gd name="T23" fmla="*/ 113 h 188"/>
                  <a:gd name="T24" fmla="*/ 38 w 164"/>
                  <a:gd name="T25" fmla="*/ 83 h 188"/>
                  <a:gd name="T26" fmla="*/ 38 w 164"/>
                  <a:gd name="T27" fmla="*/ 34 h 188"/>
                  <a:gd name="T28" fmla="*/ 85 w 164"/>
                  <a:gd name="T29" fmla="*/ 34 h 188"/>
                  <a:gd name="T30" fmla="*/ 118 w 164"/>
                  <a:gd name="T31" fmla="*/ 59 h 188"/>
                  <a:gd name="T32" fmla="*/ 77 w 164"/>
                  <a:gd name="T33" fmla="*/ 83 h 188"/>
                  <a:gd name="T34" fmla="*/ 38 w 164"/>
                  <a:gd name="T35" fmla="*/ 83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4" h="188">
                    <a:moveTo>
                      <a:pt x="113" y="113"/>
                    </a:moveTo>
                    <a:cubicBezTo>
                      <a:pt x="142" y="105"/>
                      <a:pt x="158" y="86"/>
                      <a:pt x="158" y="58"/>
                    </a:cubicBezTo>
                    <a:cubicBezTo>
                      <a:pt x="158" y="22"/>
                      <a:pt x="129" y="0"/>
                      <a:pt x="82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8" y="0"/>
                      <a:pt x="0" y="8"/>
                      <a:pt x="0" y="1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38" y="118"/>
                      <a:pt x="38" y="118"/>
                      <a:pt x="38" y="118"/>
                    </a:cubicBezTo>
                    <a:cubicBezTo>
                      <a:pt x="72" y="118"/>
                      <a:pt x="72" y="118"/>
                      <a:pt x="72" y="118"/>
                    </a:cubicBezTo>
                    <a:cubicBezTo>
                      <a:pt x="119" y="188"/>
                      <a:pt x="119" y="188"/>
                      <a:pt x="119" y="188"/>
                    </a:cubicBezTo>
                    <a:cubicBezTo>
                      <a:pt x="164" y="188"/>
                      <a:pt x="164" y="188"/>
                      <a:pt x="164" y="188"/>
                    </a:cubicBezTo>
                    <a:lnTo>
                      <a:pt x="113" y="113"/>
                    </a:lnTo>
                    <a:close/>
                    <a:moveTo>
                      <a:pt x="38" y="83"/>
                    </a:moveTo>
                    <a:cubicBezTo>
                      <a:pt x="38" y="34"/>
                      <a:pt x="38" y="34"/>
                      <a:pt x="38" y="34"/>
                    </a:cubicBezTo>
                    <a:cubicBezTo>
                      <a:pt x="85" y="34"/>
                      <a:pt x="85" y="34"/>
                      <a:pt x="85" y="34"/>
                    </a:cubicBezTo>
                    <a:cubicBezTo>
                      <a:pt x="98" y="34"/>
                      <a:pt x="118" y="38"/>
                      <a:pt x="118" y="59"/>
                    </a:cubicBezTo>
                    <a:cubicBezTo>
                      <a:pt x="118" y="69"/>
                      <a:pt x="114" y="83"/>
                      <a:pt x="77" y="83"/>
                    </a:cubicBezTo>
                    <a:lnTo>
                      <a:pt x="38" y="8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1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D0C4B"/>
                  </a:solidFill>
                  <a:effectLst/>
                  <a:uLnTx/>
                  <a:uFillTx/>
                  <a:sym typeface="Arial"/>
                </a:endParaRPr>
              </a:p>
            </p:txBody>
          </p:sp>
          <p:sp>
            <p:nvSpPr>
              <p:cNvPr id="15" name="Freeform 11">
                <a:extLst>
                  <a:ext uri="{FF2B5EF4-FFF2-40B4-BE49-F238E27FC236}">
                    <a16:creationId xmlns:a16="http://schemas.microsoft.com/office/drawing/2014/main" id="{D11DDAA7-9407-F64D-841E-021C2FC8CF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8516" y="437296"/>
                <a:ext cx="25777" cy="127448"/>
              </a:xfrm>
              <a:custGeom>
                <a:avLst/>
                <a:gdLst>
                  <a:gd name="T0" fmla="*/ 0 w 38"/>
                  <a:gd name="T1" fmla="*/ 188 h 188"/>
                  <a:gd name="T2" fmla="*/ 38 w 38"/>
                  <a:gd name="T3" fmla="*/ 188 h 188"/>
                  <a:gd name="T4" fmla="*/ 38 w 38"/>
                  <a:gd name="T5" fmla="*/ 12 h 188"/>
                  <a:gd name="T6" fmla="*/ 25 w 38"/>
                  <a:gd name="T7" fmla="*/ 0 h 188"/>
                  <a:gd name="T8" fmla="*/ 13 w 38"/>
                  <a:gd name="T9" fmla="*/ 0 h 188"/>
                  <a:gd name="T10" fmla="*/ 0 w 38"/>
                  <a:gd name="T11" fmla="*/ 12 h 188"/>
                  <a:gd name="T12" fmla="*/ 0 w 38"/>
                  <a:gd name="T13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" h="188">
                    <a:moveTo>
                      <a:pt x="0" y="188"/>
                    </a:moveTo>
                    <a:cubicBezTo>
                      <a:pt x="38" y="188"/>
                      <a:pt x="38" y="188"/>
                      <a:pt x="38" y="188"/>
                    </a:cubicBezTo>
                    <a:cubicBezTo>
                      <a:pt x="38" y="12"/>
                      <a:pt x="38" y="12"/>
                      <a:pt x="38" y="12"/>
                    </a:cubicBezTo>
                    <a:cubicBezTo>
                      <a:pt x="38" y="5"/>
                      <a:pt x="32" y="0"/>
                      <a:pt x="25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0" y="5"/>
                      <a:pt x="0" y="12"/>
                    </a:cubicBezTo>
                    <a:lnTo>
                      <a:pt x="0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1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D0C4B"/>
                  </a:solidFill>
                  <a:effectLst/>
                  <a:uLnTx/>
                  <a:uFillTx/>
                  <a:sym typeface="Arial"/>
                </a:endParaRPr>
              </a:p>
            </p:txBody>
          </p:sp>
          <p:sp>
            <p:nvSpPr>
              <p:cNvPr id="16" name="Freeform 12">
                <a:extLst>
                  <a:ext uri="{FF2B5EF4-FFF2-40B4-BE49-F238E27FC236}">
                    <a16:creationId xmlns:a16="http://schemas.microsoft.com/office/drawing/2014/main" id="{8A23A9A1-EB39-8D4B-B5E0-5169D1B087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7394" y="437296"/>
                <a:ext cx="118001" cy="127448"/>
              </a:xfrm>
              <a:custGeom>
                <a:avLst/>
                <a:gdLst>
                  <a:gd name="T0" fmla="*/ 174 w 174"/>
                  <a:gd name="T1" fmla="*/ 188 h 188"/>
                  <a:gd name="T2" fmla="*/ 137 w 174"/>
                  <a:gd name="T3" fmla="*/ 188 h 188"/>
                  <a:gd name="T4" fmla="*/ 137 w 174"/>
                  <a:gd name="T5" fmla="*/ 110 h 188"/>
                  <a:gd name="T6" fmla="*/ 38 w 174"/>
                  <a:gd name="T7" fmla="*/ 110 h 188"/>
                  <a:gd name="T8" fmla="*/ 38 w 174"/>
                  <a:gd name="T9" fmla="*/ 188 h 188"/>
                  <a:gd name="T10" fmla="*/ 0 w 174"/>
                  <a:gd name="T11" fmla="*/ 188 h 188"/>
                  <a:gd name="T12" fmla="*/ 0 w 174"/>
                  <a:gd name="T13" fmla="*/ 12 h 188"/>
                  <a:gd name="T14" fmla="*/ 13 w 174"/>
                  <a:gd name="T15" fmla="*/ 0 h 188"/>
                  <a:gd name="T16" fmla="*/ 25 w 174"/>
                  <a:gd name="T17" fmla="*/ 0 h 188"/>
                  <a:gd name="T18" fmla="*/ 38 w 174"/>
                  <a:gd name="T19" fmla="*/ 12 h 188"/>
                  <a:gd name="T20" fmla="*/ 38 w 174"/>
                  <a:gd name="T21" fmla="*/ 75 h 188"/>
                  <a:gd name="T22" fmla="*/ 137 w 174"/>
                  <a:gd name="T23" fmla="*/ 75 h 188"/>
                  <a:gd name="T24" fmla="*/ 137 w 174"/>
                  <a:gd name="T25" fmla="*/ 12 h 188"/>
                  <a:gd name="T26" fmla="*/ 149 w 174"/>
                  <a:gd name="T27" fmla="*/ 0 h 188"/>
                  <a:gd name="T28" fmla="*/ 162 w 174"/>
                  <a:gd name="T29" fmla="*/ 0 h 188"/>
                  <a:gd name="T30" fmla="*/ 174 w 174"/>
                  <a:gd name="T31" fmla="*/ 12 h 188"/>
                  <a:gd name="T32" fmla="*/ 174 w 174"/>
                  <a:gd name="T33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4" h="188">
                    <a:moveTo>
                      <a:pt x="174" y="188"/>
                    </a:moveTo>
                    <a:cubicBezTo>
                      <a:pt x="137" y="188"/>
                      <a:pt x="137" y="188"/>
                      <a:pt x="137" y="188"/>
                    </a:cubicBezTo>
                    <a:cubicBezTo>
                      <a:pt x="137" y="110"/>
                      <a:pt x="137" y="110"/>
                      <a:pt x="137" y="110"/>
                    </a:cubicBezTo>
                    <a:cubicBezTo>
                      <a:pt x="38" y="110"/>
                      <a:pt x="38" y="110"/>
                      <a:pt x="38" y="110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6" y="0"/>
                      <a:pt x="13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32" y="0"/>
                      <a:pt x="38" y="5"/>
                      <a:pt x="38" y="12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137" y="75"/>
                      <a:pt x="137" y="75"/>
                      <a:pt x="137" y="75"/>
                    </a:cubicBezTo>
                    <a:cubicBezTo>
                      <a:pt x="137" y="12"/>
                      <a:pt x="137" y="12"/>
                      <a:pt x="137" y="12"/>
                    </a:cubicBezTo>
                    <a:cubicBezTo>
                      <a:pt x="137" y="5"/>
                      <a:pt x="142" y="0"/>
                      <a:pt x="149" y="0"/>
                    </a:cubicBezTo>
                    <a:cubicBezTo>
                      <a:pt x="162" y="0"/>
                      <a:pt x="162" y="0"/>
                      <a:pt x="162" y="0"/>
                    </a:cubicBezTo>
                    <a:cubicBezTo>
                      <a:pt x="169" y="0"/>
                      <a:pt x="174" y="5"/>
                      <a:pt x="174" y="12"/>
                    </a:cubicBezTo>
                    <a:lnTo>
                      <a:pt x="174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1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D0C4B"/>
                  </a:solidFill>
                  <a:effectLst/>
                  <a:uLnTx/>
                  <a:uFillTx/>
                  <a:sym typeface="Arial"/>
                </a:endParaRPr>
              </a:p>
            </p:txBody>
          </p:sp>
          <p:sp>
            <p:nvSpPr>
              <p:cNvPr id="17" name="Freeform 13">
                <a:extLst>
                  <a:ext uri="{FF2B5EF4-FFF2-40B4-BE49-F238E27FC236}">
                    <a16:creationId xmlns:a16="http://schemas.microsoft.com/office/drawing/2014/main" id="{66F0D3E1-7C09-2644-A269-111F602CFA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5646" y="435864"/>
                <a:ext cx="108836" cy="130025"/>
              </a:xfrm>
              <a:custGeom>
                <a:avLst/>
                <a:gdLst>
                  <a:gd name="T0" fmla="*/ 90 w 161"/>
                  <a:gd name="T1" fmla="*/ 78 h 192"/>
                  <a:gd name="T2" fmla="*/ 46 w 161"/>
                  <a:gd name="T3" fmla="*/ 56 h 192"/>
                  <a:gd name="T4" fmla="*/ 83 w 161"/>
                  <a:gd name="T5" fmla="*/ 36 h 192"/>
                  <a:gd name="T6" fmla="*/ 139 w 161"/>
                  <a:gd name="T7" fmla="*/ 49 h 192"/>
                  <a:gd name="T8" fmla="*/ 140 w 161"/>
                  <a:gd name="T9" fmla="*/ 49 h 192"/>
                  <a:gd name="T10" fmla="*/ 145 w 161"/>
                  <a:gd name="T11" fmla="*/ 47 h 192"/>
                  <a:gd name="T12" fmla="*/ 156 w 161"/>
                  <a:gd name="T13" fmla="*/ 25 h 192"/>
                  <a:gd name="T14" fmla="*/ 156 w 161"/>
                  <a:gd name="T15" fmla="*/ 23 h 192"/>
                  <a:gd name="T16" fmla="*/ 153 w 161"/>
                  <a:gd name="T17" fmla="*/ 18 h 192"/>
                  <a:gd name="T18" fmla="*/ 152 w 161"/>
                  <a:gd name="T19" fmla="*/ 17 h 192"/>
                  <a:gd name="T20" fmla="*/ 81 w 161"/>
                  <a:gd name="T21" fmla="*/ 0 h 192"/>
                  <a:gd name="T22" fmla="*/ 7 w 161"/>
                  <a:gd name="T23" fmla="*/ 57 h 192"/>
                  <a:gd name="T24" fmla="*/ 25 w 161"/>
                  <a:gd name="T25" fmla="*/ 96 h 192"/>
                  <a:gd name="T26" fmla="*/ 80 w 161"/>
                  <a:gd name="T27" fmla="*/ 113 h 192"/>
                  <a:gd name="T28" fmla="*/ 122 w 161"/>
                  <a:gd name="T29" fmla="*/ 133 h 192"/>
                  <a:gd name="T30" fmla="*/ 78 w 161"/>
                  <a:gd name="T31" fmla="*/ 157 h 192"/>
                  <a:gd name="T32" fmla="*/ 22 w 161"/>
                  <a:gd name="T33" fmla="*/ 142 h 192"/>
                  <a:gd name="T34" fmla="*/ 18 w 161"/>
                  <a:gd name="T35" fmla="*/ 139 h 192"/>
                  <a:gd name="T36" fmla="*/ 15 w 161"/>
                  <a:gd name="T37" fmla="*/ 143 h 192"/>
                  <a:gd name="T38" fmla="*/ 2 w 161"/>
                  <a:gd name="T39" fmla="*/ 166 h 192"/>
                  <a:gd name="T40" fmla="*/ 0 w 161"/>
                  <a:gd name="T41" fmla="*/ 170 h 192"/>
                  <a:gd name="T42" fmla="*/ 4 w 161"/>
                  <a:gd name="T43" fmla="*/ 172 h 192"/>
                  <a:gd name="T44" fmla="*/ 77 w 161"/>
                  <a:gd name="T45" fmla="*/ 192 h 192"/>
                  <a:gd name="T46" fmla="*/ 161 w 161"/>
                  <a:gd name="T47" fmla="*/ 132 h 192"/>
                  <a:gd name="T48" fmla="*/ 90 w 161"/>
                  <a:gd name="T49" fmla="*/ 78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61" h="192">
                    <a:moveTo>
                      <a:pt x="90" y="78"/>
                    </a:moveTo>
                    <a:cubicBezTo>
                      <a:pt x="63" y="74"/>
                      <a:pt x="46" y="71"/>
                      <a:pt x="46" y="56"/>
                    </a:cubicBezTo>
                    <a:cubicBezTo>
                      <a:pt x="46" y="43"/>
                      <a:pt x="60" y="36"/>
                      <a:pt x="83" y="36"/>
                    </a:cubicBezTo>
                    <a:cubicBezTo>
                      <a:pt x="109" y="36"/>
                      <a:pt x="130" y="45"/>
                      <a:pt x="139" y="49"/>
                    </a:cubicBezTo>
                    <a:cubicBezTo>
                      <a:pt x="139" y="49"/>
                      <a:pt x="139" y="49"/>
                      <a:pt x="140" y="49"/>
                    </a:cubicBezTo>
                    <a:cubicBezTo>
                      <a:pt x="142" y="49"/>
                      <a:pt x="144" y="49"/>
                      <a:pt x="145" y="47"/>
                    </a:cubicBezTo>
                    <a:cubicBezTo>
                      <a:pt x="156" y="25"/>
                      <a:pt x="156" y="25"/>
                      <a:pt x="156" y="25"/>
                    </a:cubicBezTo>
                    <a:cubicBezTo>
                      <a:pt x="156" y="24"/>
                      <a:pt x="156" y="23"/>
                      <a:pt x="156" y="23"/>
                    </a:cubicBezTo>
                    <a:cubicBezTo>
                      <a:pt x="156" y="21"/>
                      <a:pt x="155" y="19"/>
                      <a:pt x="153" y="18"/>
                    </a:cubicBezTo>
                    <a:cubicBezTo>
                      <a:pt x="152" y="17"/>
                      <a:pt x="152" y="17"/>
                      <a:pt x="152" y="17"/>
                    </a:cubicBezTo>
                    <a:cubicBezTo>
                      <a:pt x="133" y="7"/>
                      <a:pt x="106" y="0"/>
                      <a:pt x="81" y="0"/>
                    </a:cubicBezTo>
                    <a:cubicBezTo>
                      <a:pt x="35" y="0"/>
                      <a:pt x="7" y="22"/>
                      <a:pt x="7" y="57"/>
                    </a:cubicBezTo>
                    <a:cubicBezTo>
                      <a:pt x="7" y="75"/>
                      <a:pt x="13" y="87"/>
                      <a:pt x="25" y="96"/>
                    </a:cubicBezTo>
                    <a:cubicBezTo>
                      <a:pt x="40" y="107"/>
                      <a:pt x="61" y="110"/>
                      <a:pt x="80" y="113"/>
                    </a:cubicBezTo>
                    <a:cubicBezTo>
                      <a:pt x="106" y="117"/>
                      <a:pt x="122" y="119"/>
                      <a:pt x="122" y="133"/>
                    </a:cubicBezTo>
                    <a:cubicBezTo>
                      <a:pt x="122" y="155"/>
                      <a:pt x="91" y="157"/>
                      <a:pt x="78" y="157"/>
                    </a:cubicBezTo>
                    <a:cubicBezTo>
                      <a:pt x="57" y="157"/>
                      <a:pt x="38" y="152"/>
                      <a:pt x="22" y="142"/>
                    </a:cubicBezTo>
                    <a:cubicBezTo>
                      <a:pt x="18" y="139"/>
                      <a:pt x="18" y="139"/>
                      <a:pt x="18" y="139"/>
                    </a:cubicBezTo>
                    <a:cubicBezTo>
                      <a:pt x="15" y="143"/>
                      <a:pt x="15" y="143"/>
                      <a:pt x="15" y="143"/>
                    </a:cubicBezTo>
                    <a:cubicBezTo>
                      <a:pt x="2" y="166"/>
                      <a:pt x="2" y="166"/>
                      <a:pt x="2" y="166"/>
                    </a:cubicBezTo>
                    <a:cubicBezTo>
                      <a:pt x="0" y="170"/>
                      <a:pt x="0" y="170"/>
                      <a:pt x="0" y="170"/>
                    </a:cubicBezTo>
                    <a:cubicBezTo>
                      <a:pt x="4" y="172"/>
                      <a:pt x="4" y="172"/>
                      <a:pt x="4" y="172"/>
                    </a:cubicBezTo>
                    <a:cubicBezTo>
                      <a:pt x="18" y="181"/>
                      <a:pt x="42" y="192"/>
                      <a:pt x="77" y="192"/>
                    </a:cubicBezTo>
                    <a:cubicBezTo>
                      <a:pt x="128" y="192"/>
                      <a:pt x="161" y="169"/>
                      <a:pt x="161" y="132"/>
                    </a:cubicBezTo>
                    <a:cubicBezTo>
                      <a:pt x="161" y="88"/>
                      <a:pt x="122" y="82"/>
                      <a:pt x="90" y="7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1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D0C4B"/>
                  </a:solidFill>
                  <a:effectLst/>
                  <a:uLnTx/>
                  <a:uFillTx/>
                  <a:sym typeface="Arial"/>
                </a:endParaRPr>
              </a:p>
            </p:txBody>
          </p:sp>
          <p:sp>
            <p:nvSpPr>
              <p:cNvPr id="18" name="Freeform 14">
                <a:extLst>
                  <a:ext uri="{FF2B5EF4-FFF2-40B4-BE49-F238E27FC236}">
                    <a16:creationId xmlns:a16="http://schemas.microsoft.com/office/drawing/2014/main" id="{3BC24211-BE29-8540-8DAF-C1F6042FFC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2427" y="437296"/>
                <a:ext cx="93943" cy="127448"/>
              </a:xfrm>
              <a:custGeom>
                <a:avLst/>
                <a:gdLst>
                  <a:gd name="T0" fmla="*/ 128 w 139"/>
                  <a:gd name="T1" fmla="*/ 103 h 188"/>
                  <a:gd name="T2" fmla="*/ 121 w 139"/>
                  <a:gd name="T3" fmla="*/ 110 h 188"/>
                  <a:gd name="T4" fmla="*/ 38 w 139"/>
                  <a:gd name="T5" fmla="*/ 110 h 188"/>
                  <a:gd name="T6" fmla="*/ 38 w 139"/>
                  <a:gd name="T7" fmla="*/ 153 h 188"/>
                  <a:gd name="T8" fmla="*/ 139 w 139"/>
                  <a:gd name="T9" fmla="*/ 153 h 188"/>
                  <a:gd name="T10" fmla="*/ 139 w 139"/>
                  <a:gd name="T11" fmla="*/ 188 h 188"/>
                  <a:gd name="T12" fmla="*/ 0 w 139"/>
                  <a:gd name="T13" fmla="*/ 188 h 188"/>
                  <a:gd name="T14" fmla="*/ 0 w 139"/>
                  <a:gd name="T15" fmla="*/ 18 h 188"/>
                  <a:gd name="T16" fmla="*/ 19 w 139"/>
                  <a:gd name="T17" fmla="*/ 0 h 188"/>
                  <a:gd name="T18" fmla="*/ 130 w 139"/>
                  <a:gd name="T19" fmla="*/ 0 h 188"/>
                  <a:gd name="T20" fmla="*/ 137 w 139"/>
                  <a:gd name="T21" fmla="*/ 6 h 188"/>
                  <a:gd name="T22" fmla="*/ 137 w 139"/>
                  <a:gd name="T23" fmla="*/ 27 h 188"/>
                  <a:gd name="T24" fmla="*/ 130 w 139"/>
                  <a:gd name="T25" fmla="*/ 34 h 188"/>
                  <a:gd name="T26" fmla="*/ 38 w 139"/>
                  <a:gd name="T27" fmla="*/ 34 h 188"/>
                  <a:gd name="T28" fmla="*/ 38 w 139"/>
                  <a:gd name="T29" fmla="*/ 75 h 188"/>
                  <a:gd name="T30" fmla="*/ 121 w 139"/>
                  <a:gd name="T31" fmla="*/ 75 h 188"/>
                  <a:gd name="T32" fmla="*/ 128 w 139"/>
                  <a:gd name="T33" fmla="*/ 82 h 188"/>
                  <a:gd name="T34" fmla="*/ 128 w 139"/>
                  <a:gd name="T35" fmla="*/ 103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9" h="188">
                    <a:moveTo>
                      <a:pt x="128" y="103"/>
                    </a:moveTo>
                    <a:cubicBezTo>
                      <a:pt x="128" y="107"/>
                      <a:pt x="124" y="110"/>
                      <a:pt x="121" y="110"/>
                    </a:cubicBezTo>
                    <a:cubicBezTo>
                      <a:pt x="38" y="110"/>
                      <a:pt x="38" y="110"/>
                      <a:pt x="38" y="110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139" y="153"/>
                      <a:pt x="139" y="153"/>
                      <a:pt x="139" y="153"/>
                    </a:cubicBezTo>
                    <a:cubicBezTo>
                      <a:pt x="139" y="188"/>
                      <a:pt x="139" y="188"/>
                      <a:pt x="139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9" y="0"/>
                      <a:pt x="19" y="0"/>
                    </a:cubicBezTo>
                    <a:cubicBezTo>
                      <a:pt x="130" y="0"/>
                      <a:pt x="130" y="0"/>
                      <a:pt x="130" y="0"/>
                    </a:cubicBezTo>
                    <a:cubicBezTo>
                      <a:pt x="134" y="0"/>
                      <a:pt x="137" y="2"/>
                      <a:pt x="137" y="6"/>
                    </a:cubicBezTo>
                    <a:cubicBezTo>
                      <a:pt x="137" y="27"/>
                      <a:pt x="137" y="27"/>
                      <a:pt x="137" y="27"/>
                    </a:cubicBezTo>
                    <a:cubicBezTo>
                      <a:pt x="137" y="32"/>
                      <a:pt x="134" y="34"/>
                      <a:pt x="130" y="34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121" y="75"/>
                      <a:pt x="121" y="75"/>
                      <a:pt x="121" y="75"/>
                    </a:cubicBezTo>
                    <a:cubicBezTo>
                      <a:pt x="124" y="75"/>
                      <a:pt x="128" y="77"/>
                      <a:pt x="128" y="82"/>
                    </a:cubicBezTo>
                    <a:lnTo>
                      <a:pt x="128" y="10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1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D0C4B"/>
                  </a:solidFill>
                  <a:effectLst/>
                  <a:uLnTx/>
                  <a:uFillTx/>
                  <a:sym typeface="Arial"/>
                </a:endParaRPr>
              </a:p>
            </p:txBody>
          </p:sp>
        </p:grp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360825E4-4EB9-2B47-9F71-ED5866EA557F}"/>
              </a:ext>
            </a:extLst>
          </p:cNvPr>
          <p:cNvSpPr/>
          <p:nvPr/>
        </p:nvSpPr>
        <p:spPr>
          <a:xfrm>
            <a:off x="467544" y="2571750"/>
            <a:ext cx="774763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E" sz="2800" dirty="0">
                <a:solidFill>
                  <a:srgbClr val="FFC000"/>
                </a:solidFill>
                <a:latin typeface="Gotham Book" panose="02000504050000020004" pitchFamily="2" charset="0"/>
              </a:rPr>
              <a:t>It’s competing with Snapchat for attentio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F4E8856-DD3D-45AE-AD3E-4AAFA4018C74}"/>
              </a:ext>
            </a:extLst>
          </p:cNvPr>
          <p:cNvSpPr/>
          <p:nvPr/>
        </p:nvSpPr>
        <p:spPr>
          <a:xfrm>
            <a:off x="7632340" y="170515"/>
            <a:ext cx="125098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1200" dirty="0">
                <a:solidFill>
                  <a:schemeClr val="bg1"/>
                </a:solidFill>
                <a:latin typeface="Gotham Light" pitchFamily="2" charset="0"/>
              </a:rPr>
              <a:t>#KIDSTHESEDAYS</a:t>
            </a:r>
            <a:endParaRPr lang="en-US" sz="1200" dirty="0">
              <a:latin typeface="Gotham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41554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8291" fill="hold"/>
                                        <p:tgtEl>
                                          <p:spTgt spid="2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21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1"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0059AA3-E3EA-F04C-9C28-76F6983A321D}"/>
              </a:ext>
            </a:extLst>
          </p:cNvPr>
          <p:cNvSpPr/>
          <p:nvPr/>
        </p:nvSpPr>
        <p:spPr>
          <a:xfrm rot="5400000">
            <a:off x="3338954" y="-1985958"/>
            <a:ext cx="2466092" cy="9144000"/>
          </a:xfrm>
          <a:prstGeom prst="rect">
            <a:avLst/>
          </a:prstGeom>
          <a:solidFill>
            <a:srgbClr val="683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5D4340B1-135E-294A-8DCD-BF96AFE7A0DB}"/>
              </a:ext>
            </a:extLst>
          </p:cNvPr>
          <p:cNvCxnSpPr>
            <a:cxnSpLocks/>
          </p:cNvCxnSpPr>
          <p:nvPr/>
        </p:nvCxnSpPr>
        <p:spPr>
          <a:xfrm flipV="1">
            <a:off x="4593771" y="1790990"/>
            <a:ext cx="0" cy="1590104"/>
          </a:xfrm>
          <a:prstGeom prst="line">
            <a:avLst/>
          </a:prstGeom>
          <a:ln w="12700">
            <a:solidFill>
              <a:schemeClr val="bg1"/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Object 15">
            <a:extLst>
              <a:ext uri="{FF2B5EF4-FFF2-40B4-BE49-F238E27FC236}">
                <a16:creationId xmlns:a16="http://schemas.microsoft.com/office/drawing/2014/main" id="{288024B6-334C-407C-81E6-605DAD6002B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90456019"/>
              </p:ext>
            </p:extLst>
          </p:nvPr>
        </p:nvGraphicFramePr>
        <p:xfrm>
          <a:off x="4795121" y="1699018"/>
          <a:ext cx="4851980" cy="17740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B0FC4CDD-C270-4542-8C1D-E2E20AB1B7EA}"/>
              </a:ext>
            </a:extLst>
          </p:cNvPr>
          <p:cNvSpPr txBox="1"/>
          <p:nvPr/>
        </p:nvSpPr>
        <p:spPr>
          <a:xfrm>
            <a:off x="5364088" y="824394"/>
            <a:ext cx="30975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E" sz="1400" b="1" dirty="0">
                <a:solidFill>
                  <a:srgbClr val="683C92"/>
                </a:solidFill>
                <a:latin typeface="Gotham Book" panose="02000504050000020004" pitchFamily="2" charset="0"/>
              </a:rPr>
              <a:t>TOP TV MULTI-SCREENING ACTIVITI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A5F9786-FC8D-45E7-ADA8-E57B747AA2C7}"/>
              </a:ext>
            </a:extLst>
          </p:cNvPr>
          <p:cNvSpPr txBox="1"/>
          <p:nvPr/>
        </p:nvSpPr>
        <p:spPr>
          <a:xfrm>
            <a:off x="251943" y="1985878"/>
            <a:ext cx="2139277" cy="120032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IE" sz="3600" b="1" dirty="0">
                <a:solidFill>
                  <a:srgbClr val="FFC000"/>
                </a:solidFill>
                <a:latin typeface="Gotham Book" panose="02000504050000020004" pitchFamily="2" charset="0"/>
              </a:rPr>
              <a:t>86%</a:t>
            </a:r>
            <a:r>
              <a:rPr lang="en-IE" sz="3600" b="1" dirty="0">
                <a:solidFill>
                  <a:schemeClr val="bg1"/>
                </a:solidFill>
                <a:latin typeface="Gotham Book" panose="02000504050000020004" pitchFamily="2" charset="0"/>
              </a:rPr>
              <a:t> </a:t>
            </a:r>
            <a:br>
              <a:rPr lang="en-IE" sz="3600" b="1" dirty="0">
                <a:solidFill>
                  <a:schemeClr val="bg1"/>
                </a:solidFill>
                <a:latin typeface="Gotham Book" panose="02000504050000020004" pitchFamily="2" charset="0"/>
              </a:rPr>
            </a:br>
            <a:r>
              <a:rPr lang="en-IE" sz="1200" b="1" dirty="0">
                <a:solidFill>
                  <a:schemeClr val="bg1"/>
                </a:solidFill>
                <a:latin typeface="Gotham Book" panose="02000504050000020004" pitchFamily="2" charset="0"/>
              </a:rPr>
              <a:t>OF TEENS</a:t>
            </a:r>
          </a:p>
          <a:p>
            <a:pPr algn="ctr"/>
            <a:r>
              <a:rPr lang="en-IE" sz="1200" b="1" dirty="0">
                <a:solidFill>
                  <a:schemeClr val="bg1"/>
                </a:solidFill>
                <a:latin typeface="Gotham Book" panose="02000504050000020004" pitchFamily="2" charset="0"/>
              </a:rPr>
              <a:t>MULTISCREEN YESTERDAY</a:t>
            </a:r>
          </a:p>
        </p:txBody>
      </p:sp>
      <p:sp>
        <p:nvSpPr>
          <p:cNvPr id="7" name="Frame 6">
            <a:extLst>
              <a:ext uri="{FF2B5EF4-FFF2-40B4-BE49-F238E27FC236}">
                <a16:creationId xmlns:a16="http://schemas.microsoft.com/office/drawing/2014/main" id="{954B47B1-525C-4052-AF97-EB41A3E690A3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frame">
            <a:avLst>
              <a:gd name="adj1" fmla="val 1940"/>
            </a:avLst>
          </a:prstGeom>
          <a:solidFill>
            <a:srgbClr val="683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7521ACA-BAB8-43F2-8F69-9EA83E340DD6}"/>
              </a:ext>
            </a:extLst>
          </p:cNvPr>
          <p:cNvSpPr txBox="1"/>
          <p:nvPr/>
        </p:nvSpPr>
        <p:spPr>
          <a:xfrm>
            <a:off x="2277400" y="1985878"/>
            <a:ext cx="2741160" cy="120032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lvl="0" algn="ctr"/>
            <a:r>
              <a:rPr lang="en-IE" sz="3600" b="1" dirty="0">
                <a:solidFill>
                  <a:srgbClr val="FFC000"/>
                </a:solidFill>
                <a:latin typeface="Gotham Book" panose="02000504050000020004" pitchFamily="2" charset="0"/>
              </a:rPr>
              <a:t>65%</a:t>
            </a:r>
            <a:r>
              <a:rPr lang="en-IE" sz="3600" b="1" dirty="0">
                <a:solidFill>
                  <a:schemeClr val="bg1"/>
                </a:solidFill>
                <a:latin typeface="Gotham Book" panose="02000504050000020004" pitchFamily="2" charset="0"/>
              </a:rPr>
              <a:t> </a:t>
            </a:r>
            <a:br>
              <a:rPr lang="en-IE" b="1" dirty="0">
                <a:solidFill>
                  <a:schemeClr val="bg1"/>
                </a:solidFill>
                <a:latin typeface="Gotham Book" panose="02000504050000020004" pitchFamily="2" charset="0"/>
              </a:rPr>
            </a:br>
            <a:r>
              <a:rPr lang="en-IE" sz="1200" b="1" dirty="0">
                <a:solidFill>
                  <a:srgbClr val="FFFFFF"/>
                </a:solidFill>
                <a:latin typeface="Gotham Book" panose="02000504050000020004" pitchFamily="2" charset="0"/>
              </a:rPr>
              <a:t>OF ADULTS 18+</a:t>
            </a:r>
          </a:p>
          <a:p>
            <a:pPr lvl="0" algn="ctr"/>
            <a:r>
              <a:rPr lang="en-IE" sz="1200" b="1" dirty="0">
                <a:solidFill>
                  <a:srgbClr val="FFFFFF"/>
                </a:solidFill>
                <a:latin typeface="Gotham Book" panose="02000504050000020004" pitchFamily="2" charset="0"/>
              </a:rPr>
              <a:t>MULTISCREEN </a:t>
            </a:r>
            <a:br>
              <a:rPr lang="en-IE" sz="1200" b="1" dirty="0">
                <a:solidFill>
                  <a:srgbClr val="FFFFFF"/>
                </a:solidFill>
                <a:latin typeface="Gotham Book" panose="02000504050000020004" pitchFamily="2" charset="0"/>
              </a:rPr>
            </a:br>
            <a:r>
              <a:rPr lang="en-IE" sz="1200" b="1" dirty="0">
                <a:solidFill>
                  <a:srgbClr val="FFFFFF"/>
                </a:solidFill>
                <a:latin typeface="Gotham Book" panose="02000504050000020004" pitchFamily="2" charset="0"/>
              </a:rPr>
              <a:t>YESTERDA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3FE2B83-A4F0-4317-A02A-D9DC8AACEA44}"/>
              </a:ext>
            </a:extLst>
          </p:cNvPr>
          <p:cNvSpPr txBox="1"/>
          <p:nvPr/>
        </p:nvSpPr>
        <p:spPr>
          <a:xfrm>
            <a:off x="2157506" y="2416765"/>
            <a:ext cx="555695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GB" sz="1600" b="1" dirty="0">
                <a:solidFill>
                  <a:srgbClr val="FFC000"/>
                </a:solidFill>
                <a:latin typeface="Gotham Book" panose="02000504050000020004" pitchFamily="2" charset="0"/>
              </a:rPr>
              <a:t>VS.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DA4896-57A6-46CF-B1EC-A03099A33F1E}"/>
              </a:ext>
            </a:extLst>
          </p:cNvPr>
          <p:cNvSpPr/>
          <p:nvPr/>
        </p:nvSpPr>
        <p:spPr>
          <a:xfrm>
            <a:off x="7458286" y="170515"/>
            <a:ext cx="159909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1200" dirty="0">
                <a:solidFill>
                  <a:srgbClr val="683C92"/>
                </a:solidFill>
                <a:latin typeface="Gotham Light" pitchFamily="2" charset="0"/>
              </a:rPr>
              <a:t>#KIDSTHESEDAYS</a:t>
            </a:r>
            <a:endParaRPr lang="en-US" sz="1200" dirty="0">
              <a:solidFill>
                <a:srgbClr val="683C92"/>
              </a:solidFill>
              <a:latin typeface="Gotham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19994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hq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Placeholder 17">
            <a:extLst>
              <a:ext uri="{FF2B5EF4-FFF2-40B4-BE49-F238E27FC236}">
                <a16:creationId xmlns:a16="http://schemas.microsoft.com/office/drawing/2014/main" id="{928AAA90-E7D3-4C2A-A1C4-6E9E1C41EF2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77083403"/>
              </p:ext>
            </p:extLst>
          </p:nvPr>
        </p:nvGraphicFramePr>
        <p:xfrm>
          <a:off x="2949696" y="159482"/>
          <a:ext cx="6120680" cy="49970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84A88B20-C94D-41A8-91AB-B7CB522BDF44}"/>
              </a:ext>
            </a:extLst>
          </p:cNvPr>
          <p:cNvSpPr txBox="1"/>
          <p:nvPr/>
        </p:nvSpPr>
        <p:spPr>
          <a:xfrm>
            <a:off x="360000" y="4583229"/>
            <a:ext cx="2843848" cy="2046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60"/>
            <a:r>
              <a:rPr lang="en-IE" sz="730" dirty="0">
                <a:solidFill>
                  <a:srgbClr val="FFFFFF"/>
                </a:solidFill>
                <a:latin typeface="Arial"/>
              </a:rPr>
              <a:t>Which of the following activities did you do yesterday? N=300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0188BE5-994A-3C40-95DB-7D420A1CA11F}"/>
              </a:ext>
            </a:extLst>
          </p:cNvPr>
          <p:cNvSpPr/>
          <p:nvPr/>
        </p:nvSpPr>
        <p:spPr>
          <a:xfrm>
            <a:off x="360000" y="362349"/>
            <a:ext cx="430407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160"/>
            <a:r>
              <a:rPr lang="en-IE" sz="1600" b="1" dirty="0">
                <a:solidFill>
                  <a:srgbClr val="FFFFFF"/>
                </a:solidFill>
                <a:latin typeface="Gotham Book" panose="02000504050000020004" pitchFamily="2" charset="0"/>
              </a:rPr>
              <a:t>WHAT IS THE TOP REACHING MEDIUM </a:t>
            </a:r>
            <a:br>
              <a:rPr lang="en-IE" sz="1600" b="1" dirty="0">
                <a:solidFill>
                  <a:srgbClr val="FFFFFF"/>
                </a:solidFill>
                <a:latin typeface="Gotham Book" panose="02000504050000020004" pitchFamily="2" charset="0"/>
              </a:rPr>
            </a:br>
            <a:r>
              <a:rPr lang="en-IE" sz="1600" b="1" dirty="0">
                <a:solidFill>
                  <a:srgbClr val="FFFFFF"/>
                </a:solidFill>
                <a:latin typeface="Gotham Book" panose="02000504050000020004" pitchFamily="2" charset="0"/>
              </a:rPr>
              <a:t>FOR 12-17 YEAR OLDS? </a:t>
            </a:r>
            <a:endParaRPr lang="en-US" sz="1600" b="1" dirty="0">
              <a:solidFill>
                <a:srgbClr val="FFFFFF"/>
              </a:solidFill>
              <a:latin typeface="Gotham Book" panose="02000504050000020004" pitchFamily="2" charset="0"/>
            </a:endParaRPr>
          </a:p>
        </p:txBody>
      </p:sp>
      <p:sp>
        <p:nvSpPr>
          <p:cNvPr id="9" name="Frame 8">
            <a:extLst>
              <a:ext uri="{FF2B5EF4-FFF2-40B4-BE49-F238E27FC236}">
                <a16:creationId xmlns:a16="http://schemas.microsoft.com/office/drawing/2014/main" id="{C469D0FE-A111-6548-A49D-97F0D4530E2B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frame">
            <a:avLst>
              <a:gd name="adj1" fmla="val 194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60"/>
            <a:endParaRPr lang="en-US" sz="1800" dirty="0">
              <a:solidFill>
                <a:srgbClr val="2D0C4B"/>
              </a:solidFill>
              <a:latin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3ED755C-22FE-4F6B-B0A8-84A2E37ACAFA}"/>
              </a:ext>
            </a:extLst>
          </p:cNvPr>
          <p:cNvSpPr txBox="1"/>
          <p:nvPr/>
        </p:nvSpPr>
        <p:spPr>
          <a:xfrm>
            <a:off x="6444209" y="116129"/>
            <a:ext cx="24122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60"/>
            <a:r>
              <a:rPr lang="en-IE" sz="900" b="1" dirty="0">
                <a:solidFill>
                  <a:schemeClr val="bg1"/>
                </a:solidFill>
                <a:latin typeface="Gotham Book" panose="02000504050000020004" pitchFamily="2" charset="0"/>
              </a:rPr>
              <a:t>TEENAGERS: DAILY MEDIA REACH</a:t>
            </a:r>
          </a:p>
        </p:txBody>
      </p:sp>
    </p:spTree>
    <p:extLst>
      <p:ext uri="{BB962C8B-B14F-4D97-AF65-F5344CB8AC3E}">
        <p14:creationId xmlns:p14="http://schemas.microsoft.com/office/powerpoint/2010/main" val="108843188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3930015418"/>
              </p:ext>
            </p:extLst>
          </p:nvPr>
        </p:nvGraphicFramePr>
        <p:xfrm>
          <a:off x="360000" y="-452586"/>
          <a:ext cx="8425225" cy="55960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Frame 8">
            <a:extLst>
              <a:ext uri="{FF2B5EF4-FFF2-40B4-BE49-F238E27FC236}">
                <a16:creationId xmlns:a16="http://schemas.microsoft.com/office/drawing/2014/main" id="{7E949C69-E697-934E-9F9F-C6D2D2094E58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frame">
            <a:avLst>
              <a:gd name="adj1" fmla="val 1940"/>
            </a:avLst>
          </a:prstGeom>
          <a:gradFill>
            <a:gsLst>
              <a:gs pos="0">
                <a:srgbClr val="3B1F58"/>
              </a:gs>
              <a:gs pos="54000">
                <a:schemeClr val="accent2"/>
              </a:gs>
              <a:gs pos="98000">
                <a:srgbClr val="00A8E2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60"/>
            <a:endParaRPr lang="en-US" sz="1800" dirty="0">
              <a:solidFill>
                <a:srgbClr val="2D0C4B"/>
              </a:solidFill>
              <a:latin typeface="Arial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idx="4294967295"/>
          </p:nvPr>
        </p:nvSpPr>
        <p:spPr>
          <a:xfrm>
            <a:off x="483718" y="1120397"/>
            <a:ext cx="3663950" cy="214313"/>
          </a:xfrm>
        </p:spPr>
        <p:txBody>
          <a:bodyPr/>
          <a:lstStyle/>
          <a:p>
            <a:r>
              <a:rPr lang="en-GB" sz="1100" dirty="0">
                <a:solidFill>
                  <a:schemeClr val="tx1"/>
                </a:solidFill>
                <a:latin typeface="Gotham Book" panose="02000504050000020004" pitchFamily="2" charset="0"/>
              </a:rPr>
              <a:t>Social Media hour by hour – all adults 18+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4294967295"/>
          </p:nvPr>
        </p:nvSpPr>
        <p:spPr>
          <a:xfrm>
            <a:off x="483718" y="4876006"/>
            <a:ext cx="5901091" cy="126271"/>
          </a:xfrm>
        </p:spPr>
        <p:txBody>
          <a:bodyPr/>
          <a:lstStyle/>
          <a:p>
            <a:r>
              <a:rPr lang="en-GB" sz="700" dirty="0">
                <a:solidFill>
                  <a:schemeClr val="tx1"/>
                </a:solidFill>
                <a:latin typeface="Gotham Book" panose="02000504050000020004" pitchFamily="2" charset="0"/>
              </a:rPr>
              <a:t>When you used [social media channel] yesterday, please select the time you did so? N=2110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25597D7-B8DB-6240-8526-167E90CFFE11}"/>
              </a:ext>
            </a:extLst>
          </p:cNvPr>
          <p:cNvSpPr/>
          <p:nvPr/>
        </p:nvSpPr>
        <p:spPr>
          <a:xfrm>
            <a:off x="360000" y="339502"/>
            <a:ext cx="430407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160"/>
            <a:r>
              <a:rPr lang="en-IE" sz="1600" b="1" dirty="0">
                <a:solidFill>
                  <a:srgbClr val="683C92"/>
                </a:solidFill>
                <a:latin typeface="Gotham Book" panose="02000504050000020004" pitchFamily="2" charset="0"/>
              </a:rPr>
              <a:t>SOCIAL MEDIA CONSUMPTION HAS BEEN DOMINATED BY FACEBOOK </a:t>
            </a:r>
          </a:p>
        </p:txBody>
      </p:sp>
    </p:spTree>
    <p:extLst>
      <p:ext uri="{BB962C8B-B14F-4D97-AF65-F5344CB8AC3E}">
        <p14:creationId xmlns:p14="http://schemas.microsoft.com/office/powerpoint/2010/main" val="32777274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3521926967"/>
              </p:ext>
            </p:extLst>
          </p:nvPr>
        </p:nvGraphicFramePr>
        <p:xfrm>
          <a:off x="360000" y="-452586"/>
          <a:ext cx="8425225" cy="55960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Frame 8">
            <a:extLst>
              <a:ext uri="{FF2B5EF4-FFF2-40B4-BE49-F238E27FC236}">
                <a16:creationId xmlns:a16="http://schemas.microsoft.com/office/drawing/2014/main" id="{7E949C69-E697-934E-9F9F-C6D2D2094E58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frame">
            <a:avLst>
              <a:gd name="adj1" fmla="val 1940"/>
            </a:avLst>
          </a:prstGeom>
          <a:gradFill>
            <a:gsLst>
              <a:gs pos="0">
                <a:srgbClr val="3B1F58"/>
              </a:gs>
              <a:gs pos="54000">
                <a:schemeClr val="accent2"/>
              </a:gs>
              <a:gs pos="98000">
                <a:srgbClr val="00A8E2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60"/>
            <a:endParaRPr lang="en-US" sz="1800" dirty="0">
              <a:solidFill>
                <a:srgbClr val="2D0C4B"/>
              </a:solidFill>
              <a:latin typeface="Arial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idx="4294967295"/>
          </p:nvPr>
        </p:nvSpPr>
        <p:spPr>
          <a:xfrm>
            <a:off x="483718" y="1120397"/>
            <a:ext cx="3663950" cy="214313"/>
          </a:xfrm>
        </p:spPr>
        <p:txBody>
          <a:bodyPr/>
          <a:lstStyle/>
          <a:p>
            <a:r>
              <a:rPr lang="en-GB" sz="1100" dirty="0">
                <a:solidFill>
                  <a:schemeClr val="tx1"/>
                </a:solidFill>
                <a:latin typeface="Gotham Book" panose="02000504050000020004" pitchFamily="2" charset="0"/>
              </a:rPr>
              <a:t>Social Media hour by hour – all adults 18+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4294967295"/>
          </p:nvPr>
        </p:nvSpPr>
        <p:spPr>
          <a:xfrm>
            <a:off x="483718" y="4876006"/>
            <a:ext cx="5901091" cy="126271"/>
          </a:xfrm>
        </p:spPr>
        <p:txBody>
          <a:bodyPr/>
          <a:lstStyle/>
          <a:p>
            <a:r>
              <a:rPr lang="en-GB" sz="700" dirty="0">
                <a:solidFill>
                  <a:schemeClr val="tx1"/>
                </a:solidFill>
                <a:latin typeface="Gotham Book" panose="02000504050000020004" pitchFamily="2" charset="0"/>
              </a:rPr>
              <a:t>When you used [social media channel] yesterday, please select the time you did so? N=2110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25597D7-B8DB-6240-8526-167E90CFFE11}"/>
              </a:ext>
            </a:extLst>
          </p:cNvPr>
          <p:cNvSpPr/>
          <p:nvPr/>
        </p:nvSpPr>
        <p:spPr>
          <a:xfrm>
            <a:off x="360000" y="339502"/>
            <a:ext cx="430407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160"/>
            <a:r>
              <a:rPr lang="en-IE" sz="1600" b="1" dirty="0">
                <a:solidFill>
                  <a:srgbClr val="683C92"/>
                </a:solidFill>
                <a:latin typeface="Gotham Book" panose="02000504050000020004" pitchFamily="2" charset="0"/>
              </a:rPr>
              <a:t>SOCIAL MEDIA CONSUMPTION HAS BEEN DOMINATED BY FACEBOOK </a:t>
            </a:r>
          </a:p>
        </p:txBody>
      </p:sp>
    </p:spTree>
    <p:extLst>
      <p:ext uri="{BB962C8B-B14F-4D97-AF65-F5344CB8AC3E}">
        <p14:creationId xmlns:p14="http://schemas.microsoft.com/office/powerpoint/2010/main" val="16378443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8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graphicEl>
                                              <a:chart seriesIdx="3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8">
                                            <p:graphicEl>
                                              <a:chart seriesIdx="3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8" grpId="0" uiExpand="1">
        <p:bldSub>
          <a:bldChart bld="series"/>
        </p:bldSub>
      </p:bldGraphic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95D4873-5C9A-E24E-9B9F-5443786B1D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14500" y="0"/>
            <a:ext cx="6858000" cy="51435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70E2F6F0-DDA1-954A-9437-49497DF3E385}"/>
              </a:ext>
            </a:extLst>
          </p:cNvPr>
          <p:cNvSpPr/>
          <p:nvPr/>
        </p:nvSpPr>
        <p:spPr>
          <a:xfrm rot="10800000">
            <a:off x="63154" y="-1"/>
            <a:ext cx="2448271" cy="5143500"/>
          </a:xfrm>
          <a:prstGeom prst="rect">
            <a:avLst/>
          </a:prstGeom>
          <a:solidFill>
            <a:srgbClr val="683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60"/>
            <a:endParaRPr lang="en-US" sz="1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33E8B7E-2705-2F4E-A4B0-422C7303A768}"/>
              </a:ext>
            </a:extLst>
          </p:cNvPr>
          <p:cNvSpPr txBox="1">
            <a:spLocks/>
          </p:cNvSpPr>
          <p:nvPr/>
        </p:nvSpPr>
        <p:spPr>
          <a:xfrm>
            <a:off x="273350" y="915566"/>
            <a:ext cx="2160240" cy="60994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11" rtl="0" eaLnBrk="1" latinLnBrk="0" hangingPunct="1">
              <a:lnSpc>
                <a:spcPct val="100000"/>
              </a:lnSpc>
              <a:spcBef>
                <a:spcPts val="300"/>
              </a:spcBef>
              <a:buNone/>
              <a:defRPr sz="1600" b="1" kern="1200" cap="none" spc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88"/>
            <a:r>
              <a:rPr lang="en-IE" sz="2000" dirty="0">
                <a:solidFill>
                  <a:schemeClr val="bg1"/>
                </a:solidFill>
                <a:latin typeface="Gotham Bold" panose="02000504050000020004" pitchFamily="2" charset="0"/>
              </a:rPr>
              <a:t>SNAPCHAT</a:t>
            </a:r>
            <a:r>
              <a:rPr lang="en-IE" sz="2000" dirty="0">
                <a:solidFill>
                  <a:schemeClr val="bg1"/>
                </a:solidFill>
                <a:latin typeface="Gotham Book" panose="02000504050000020004" pitchFamily="2" charset="0"/>
              </a:rPr>
              <a:t> </a:t>
            </a:r>
            <a:br>
              <a:rPr lang="en-IE" sz="2000" dirty="0">
                <a:solidFill>
                  <a:schemeClr val="bg1"/>
                </a:solidFill>
                <a:latin typeface="Gotham Book" panose="02000504050000020004" pitchFamily="2" charset="0"/>
              </a:rPr>
            </a:br>
            <a:r>
              <a:rPr lang="en-IE" sz="2000" dirty="0">
                <a:solidFill>
                  <a:schemeClr val="bg1"/>
                </a:solidFill>
                <a:latin typeface="Gotham Book" panose="02000504050000020004" pitchFamily="2" charset="0"/>
              </a:rPr>
              <a:t>IS THE NUMBER ONE WAY TO STAY IN TOUCH WITH FRIEND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EB53E3E-D960-3049-8863-B5C19DB4869C}"/>
              </a:ext>
            </a:extLst>
          </p:cNvPr>
          <p:cNvSpPr/>
          <p:nvPr/>
        </p:nvSpPr>
        <p:spPr>
          <a:xfrm>
            <a:off x="2505090" y="87474"/>
            <a:ext cx="6552000" cy="4968552"/>
          </a:xfrm>
          <a:prstGeom prst="rect">
            <a:avLst/>
          </a:prstGeom>
          <a:gradFill>
            <a:gsLst>
              <a:gs pos="0">
                <a:schemeClr val="accent2">
                  <a:alpha val="58000"/>
                </a:schemeClr>
              </a:gs>
              <a:gs pos="54000">
                <a:schemeClr val="accent2">
                  <a:alpha val="60000"/>
                </a:schemeClr>
              </a:gs>
              <a:gs pos="99000">
                <a:schemeClr val="accent1">
                  <a:alpha val="46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rame 7">
            <a:extLst>
              <a:ext uri="{FF2B5EF4-FFF2-40B4-BE49-F238E27FC236}">
                <a16:creationId xmlns:a16="http://schemas.microsoft.com/office/drawing/2014/main" id="{D899F84F-1B11-7541-A9D8-9E0719DAAFD8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frame">
            <a:avLst>
              <a:gd name="adj1" fmla="val 1940"/>
            </a:avLst>
          </a:prstGeom>
          <a:solidFill>
            <a:srgbClr val="683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60"/>
            <a:endParaRPr lang="en-US" sz="1800" dirty="0">
              <a:solidFill>
                <a:srgbClr val="2D0C4B"/>
              </a:solidFill>
              <a:latin typeface="Arial"/>
            </a:endParaRP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ABEE5320-638C-4C30-81D7-5B1D24A7D512}"/>
              </a:ext>
            </a:extLst>
          </p:cNvPr>
          <p:cNvSpPr txBox="1">
            <a:spLocks/>
          </p:cNvSpPr>
          <p:nvPr/>
        </p:nvSpPr>
        <p:spPr>
          <a:xfrm>
            <a:off x="265400" y="2583706"/>
            <a:ext cx="2066402" cy="17162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84" rtl="0" eaLnBrk="1" latinLnBrk="0" hangingPunct="1">
              <a:lnSpc>
                <a:spcPct val="100000"/>
              </a:lnSpc>
              <a:spcBef>
                <a:spcPts val="400"/>
              </a:spcBef>
              <a:buNone/>
              <a:defRPr sz="2133" b="1" kern="1200" cap="none" spc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br>
              <a:rPr lang="en-IE" sz="2000" dirty="0">
                <a:solidFill>
                  <a:schemeClr val="bg1"/>
                </a:solidFill>
                <a:latin typeface="Gotham Book" panose="02000504050000020004" pitchFamily="2" charset="0"/>
              </a:rPr>
            </a:br>
            <a:r>
              <a:rPr lang="en-IE" sz="2000" dirty="0">
                <a:solidFill>
                  <a:schemeClr val="bg1"/>
                </a:solidFill>
                <a:latin typeface="Gotham Book" panose="02000504050000020004" pitchFamily="2" charset="0"/>
              </a:rPr>
              <a:t>SNAPCHAT &amp; INSTAGRAM CONTROLS THE NEWS THEY HEA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51319BB-003B-430B-82B4-9C53876923F8}"/>
              </a:ext>
            </a:extLst>
          </p:cNvPr>
          <p:cNvSpPr/>
          <p:nvPr/>
        </p:nvSpPr>
        <p:spPr>
          <a:xfrm>
            <a:off x="3057999" y="3147814"/>
            <a:ext cx="1667926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954" lvl="1"/>
            <a:r>
              <a:rPr lang="en-GB" dirty="0">
                <a:solidFill>
                  <a:schemeClr val="bg1"/>
                </a:solidFill>
                <a:latin typeface="Gotham Book" panose="02000504050000020004" pitchFamily="2" charset="0"/>
              </a:rPr>
              <a:t>Important things usually show up on my Instagram or Snapchat</a:t>
            </a:r>
          </a:p>
          <a:p>
            <a:pPr marL="5954" lvl="1"/>
            <a:endParaRPr lang="en-GB" dirty="0">
              <a:solidFill>
                <a:schemeClr val="bg1"/>
              </a:solidFill>
              <a:latin typeface="Gotham Book" panose="02000504050000020004" pitchFamily="2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0405A28-57FF-4239-8BB3-2C9F38C7ABF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76147" y="3071677"/>
            <a:ext cx="339863" cy="3078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306AAE5-14B3-4252-9979-71E2F5475C5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10800000">
            <a:off x="4084747" y="4407954"/>
            <a:ext cx="339863" cy="3078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ADD2E925-C266-4420-9679-B3717F051799}"/>
              </a:ext>
            </a:extLst>
          </p:cNvPr>
          <p:cNvSpPr/>
          <p:nvPr/>
        </p:nvSpPr>
        <p:spPr>
          <a:xfrm>
            <a:off x="7632340" y="170515"/>
            <a:ext cx="125098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1200" dirty="0">
                <a:solidFill>
                  <a:schemeClr val="bg1"/>
                </a:solidFill>
                <a:latin typeface="Gotham Light" pitchFamily="2" charset="0"/>
              </a:rPr>
              <a:t>#KIDSTHESEDAYS</a:t>
            </a:r>
            <a:endParaRPr lang="en-US" sz="1200" dirty="0">
              <a:latin typeface="Gotham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50393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hq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 idx="4294967295"/>
          </p:nvPr>
        </p:nvSpPr>
        <p:spPr>
          <a:xfrm>
            <a:off x="575556" y="2214562"/>
            <a:ext cx="7138107" cy="1584325"/>
          </a:xfrm>
        </p:spPr>
        <p:txBody>
          <a:bodyPr/>
          <a:lstStyle/>
          <a:p>
            <a:r>
              <a:rPr lang="en-IE" sz="4400" dirty="0">
                <a:solidFill>
                  <a:schemeClr val="bg1"/>
                </a:solidFill>
                <a:latin typeface="Gotham Book" panose="02000504050000020004"/>
              </a:rPr>
              <a:t>Curation Generation</a:t>
            </a:r>
            <a:endParaRPr lang="en-US" sz="4400" dirty="0">
              <a:solidFill>
                <a:schemeClr val="bg1"/>
              </a:solidFill>
              <a:latin typeface="Gotham Book" panose="02000504050000020004"/>
            </a:endParaRPr>
          </a:p>
        </p:txBody>
      </p:sp>
      <p:sp>
        <p:nvSpPr>
          <p:cNvPr id="2" name="Frame 1">
            <a:extLst>
              <a:ext uri="{FF2B5EF4-FFF2-40B4-BE49-F238E27FC236}">
                <a16:creationId xmlns:a16="http://schemas.microsoft.com/office/drawing/2014/main" id="{48D6C536-0812-C741-90E0-DE9D3F38E2F4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frame">
            <a:avLst>
              <a:gd name="adj1" fmla="val 194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D0C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E7871586-5899-4615-88DA-B84ACA5365A8}"/>
              </a:ext>
            </a:extLst>
          </p:cNvPr>
          <p:cNvGrpSpPr>
            <a:grpSpLocks noChangeAspect="1"/>
          </p:cNvGrpSpPr>
          <p:nvPr/>
        </p:nvGrpSpPr>
        <p:grpSpPr>
          <a:xfrm>
            <a:off x="7308304" y="4417898"/>
            <a:ext cx="1603826" cy="494112"/>
            <a:chOff x="5043330" y="2582427"/>
            <a:chExt cx="2714033" cy="836158"/>
          </a:xfrm>
        </p:grpSpPr>
        <p:pic>
          <p:nvPicPr>
            <p:cNvPr id="29" name="logo graphic">
              <a:extLst>
                <a:ext uri="{FF2B5EF4-FFF2-40B4-BE49-F238E27FC236}">
                  <a16:creationId xmlns:a16="http://schemas.microsoft.com/office/drawing/2014/main" id="{97553C3D-F1DF-4947-B014-36020A0B3EF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21205" y="2582427"/>
              <a:ext cx="836158" cy="836158"/>
            </a:xfrm>
            <a:prstGeom prst="rect">
              <a:avLst/>
            </a:prstGeom>
          </p:spPr>
        </p:pic>
        <p:grpSp>
          <p:nvGrpSpPr>
            <p:cNvPr id="30" name="letters">
              <a:extLst>
                <a:ext uri="{FF2B5EF4-FFF2-40B4-BE49-F238E27FC236}">
                  <a16:creationId xmlns:a16="http://schemas.microsoft.com/office/drawing/2014/main" id="{209EC23A-BDF3-4DD2-881D-E1D45277D550}"/>
                </a:ext>
              </a:extLst>
            </p:cNvPr>
            <p:cNvGrpSpPr/>
            <p:nvPr/>
          </p:nvGrpSpPr>
          <p:grpSpPr>
            <a:xfrm>
              <a:off x="5043330" y="2901718"/>
              <a:ext cx="1777426" cy="197580"/>
              <a:chOff x="566670" y="435864"/>
              <a:chExt cx="1169700" cy="130025"/>
            </a:xfrm>
            <a:solidFill>
              <a:srgbClr val="FFFFFF"/>
            </a:solidFill>
          </p:grpSpPr>
          <p:sp>
            <p:nvSpPr>
              <p:cNvPr id="31" name="Freeform 6">
                <a:extLst>
                  <a:ext uri="{FF2B5EF4-FFF2-40B4-BE49-F238E27FC236}">
                    <a16:creationId xmlns:a16="http://schemas.microsoft.com/office/drawing/2014/main" id="{1B826F34-C102-46B1-BD86-E1113B0049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670" y="437296"/>
                <a:ext cx="146069" cy="127448"/>
              </a:xfrm>
              <a:custGeom>
                <a:avLst/>
                <a:gdLst>
                  <a:gd name="T0" fmla="*/ 216 w 216"/>
                  <a:gd name="T1" fmla="*/ 188 h 188"/>
                  <a:gd name="T2" fmla="*/ 178 w 216"/>
                  <a:gd name="T3" fmla="*/ 188 h 188"/>
                  <a:gd name="T4" fmla="*/ 178 w 216"/>
                  <a:gd name="T5" fmla="*/ 66 h 188"/>
                  <a:gd name="T6" fmla="*/ 113 w 216"/>
                  <a:gd name="T7" fmla="*/ 145 h 188"/>
                  <a:gd name="T8" fmla="*/ 103 w 216"/>
                  <a:gd name="T9" fmla="*/ 145 h 188"/>
                  <a:gd name="T10" fmla="*/ 38 w 216"/>
                  <a:gd name="T11" fmla="*/ 66 h 188"/>
                  <a:gd name="T12" fmla="*/ 38 w 216"/>
                  <a:gd name="T13" fmla="*/ 188 h 188"/>
                  <a:gd name="T14" fmla="*/ 0 w 216"/>
                  <a:gd name="T15" fmla="*/ 188 h 188"/>
                  <a:gd name="T16" fmla="*/ 0 w 216"/>
                  <a:gd name="T17" fmla="*/ 20 h 188"/>
                  <a:gd name="T18" fmla="*/ 20 w 216"/>
                  <a:gd name="T19" fmla="*/ 0 h 188"/>
                  <a:gd name="T20" fmla="*/ 20 w 216"/>
                  <a:gd name="T21" fmla="*/ 0 h 188"/>
                  <a:gd name="T22" fmla="*/ 38 w 216"/>
                  <a:gd name="T23" fmla="*/ 9 h 188"/>
                  <a:gd name="T24" fmla="*/ 108 w 216"/>
                  <a:gd name="T25" fmla="*/ 94 h 188"/>
                  <a:gd name="T26" fmla="*/ 182 w 216"/>
                  <a:gd name="T27" fmla="*/ 6 h 188"/>
                  <a:gd name="T28" fmla="*/ 196 w 216"/>
                  <a:gd name="T29" fmla="*/ 0 h 188"/>
                  <a:gd name="T30" fmla="*/ 196 w 216"/>
                  <a:gd name="T31" fmla="*/ 0 h 188"/>
                  <a:gd name="T32" fmla="*/ 216 w 216"/>
                  <a:gd name="T33" fmla="*/ 19 h 188"/>
                  <a:gd name="T34" fmla="*/ 216 w 216"/>
                  <a:gd name="T35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16" h="188">
                    <a:moveTo>
                      <a:pt x="216" y="188"/>
                    </a:moveTo>
                    <a:cubicBezTo>
                      <a:pt x="178" y="188"/>
                      <a:pt x="178" y="188"/>
                      <a:pt x="178" y="188"/>
                    </a:cubicBezTo>
                    <a:cubicBezTo>
                      <a:pt x="178" y="66"/>
                      <a:pt x="178" y="66"/>
                      <a:pt x="178" y="66"/>
                    </a:cubicBezTo>
                    <a:cubicBezTo>
                      <a:pt x="113" y="145"/>
                      <a:pt x="113" y="145"/>
                      <a:pt x="113" y="145"/>
                    </a:cubicBezTo>
                    <a:cubicBezTo>
                      <a:pt x="110" y="148"/>
                      <a:pt x="106" y="148"/>
                      <a:pt x="103" y="145"/>
                    </a:cubicBezTo>
                    <a:cubicBezTo>
                      <a:pt x="38" y="66"/>
                      <a:pt x="38" y="66"/>
                      <a:pt x="38" y="66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8" y="0"/>
                      <a:pt x="32" y="3"/>
                      <a:pt x="38" y="9"/>
                    </a:cubicBezTo>
                    <a:cubicBezTo>
                      <a:pt x="108" y="94"/>
                      <a:pt x="108" y="94"/>
                      <a:pt x="108" y="94"/>
                    </a:cubicBezTo>
                    <a:cubicBezTo>
                      <a:pt x="182" y="6"/>
                      <a:pt x="182" y="6"/>
                      <a:pt x="182" y="6"/>
                    </a:cubicBezTo>
                    <a:cubicBezTo>
                      <a:pt x="185" y="2"/>
                      <a:pt x="190" y="0"/>
                      <a:pt x="196" y="0"/>
                    </a:cubicBezTo>
                    <a:cubicBezTo>
                      <a:pt x="196" y="0"/>
                      <a:pt x="196" y="0"/>
                      <a:pt x="196" y="0"/>
                    </a:cubicBezTo>
                    <a:cubicBezTo>
                      <a:pt x="207" y="0"/>
                      <a:pt x="216" y="8"/>
                      <a:pt x="216" y="19"/>
                    </a:cubicBezTo>
                    <a:lnTo>
                      <a:pt x="216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1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D0C4B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32" name="Freeform 7">
                <a:extLst>
                  <a:ext uri="{FF2B5EF4-FFF2-40B4-BE49-F238E27FC236}">
                    <a16:creationId xmlns:a16="http://schemas.microsoft.com/office/drawing/2014/main" id="{AA4B2C1C-9240-434F-9AB4-4CDA6B55AB8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50862" y="436723"/>
                <a:ext cx="146069" cy="128020"/>
              </a:xfrm>
              <a:custGeom>
                <a:avLst/>
                <a:gdLst>
                  <a:gd name="T0" fmla="*/ 0 w 216"/>
                  <a:gd name="T1" fmla="*/ 189 h 189"/>
                  <a:gd name="T2" fmla="*/ 42 w 216"/>
                  <a:gd name="T3" fmla="*/ 189 h 189"/>
                  <a:gd name="T4" fmla="*/ 66 w 216"/>
                  <a:gd name="T5" fmla="*/ 138 h 189"/>
                  <a:gd name="T6" fmla="*/ 148 w 216"/>
                  <a:gd name="T7" fmla="*/ 138 h 189"/>
                  <a:gd name="T8" fmla="*/ 174 w 216"/>
                  <a:gd name="T9" fmla="*/ 189 h 189"/>
                  <a:gd name="T10" fmla="*/ 216 w 216"/>
                  <a:gd name="T11" fmla="*/ 189 h 189"/>
                  <a:gd name="T12" fmla="*/ 124 w 216"/>
                  <a:gd name="T13" fmla="*/ 9 h 189"/>
                  <a:gd name="T14" fmla="*/ 106 w 216"/>
                  <a:gd name="T15" fmla="*/ 0 h 189"/>
                  <a:gd name="T16" fmla="*/ 106 w 216"/>
                  <a:gd name="T17" fmla="*/ 0 h 189"/>
                  <a:gd name="T18" fmla="*/ 89 w 216"/>
                  <a:gd name="T19" fmla="*/ 9 h 189"/>
                  <a:gd name="T20" fmla="*/ 0 w 216"/>
                  <a:gd name="T21" fmla="*/ 189 h 189"/>
                  <a:gd name="T22" fmla="*/ 106 w 216"/>
                  <a:gd name="T23" fmla="*/ 55 h 189"/>
                  <a:gd name="T24" fmla="*/ 133 w 216"/>
                  <a:gd name="T25" fmla="*/ 108 h 189"/>
                  <a:gd name="T26" fmla="*/ 81 w 216"/>
                  <a:gd name="T27" fmla="*/ 108 h 189"/>
                  <a:gd name="T28" fmla="*/ 106 w 216"/>
                  <a:gd name="T29" fmla="*/ 55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16" h="189">
                    <a:moveTo>
                      <a:pt x="0" y="189"/>
                    </a:moveTo>
                    <a:cubicBezTo>
                      <a:pt x="42" y="189"/>
                      <a:pt x="42" y="189"/>
                      <a:pt x="42" y="189"/>
                    </a:cubicBezTo>
                    <a:cubicBezTo>
                      <a:pt x="66" y="138"/>
                      <a:pt x="66" y="138"/>
                      <a:pt x="66" y="138"/>
                    </a:cubicBezTo>
                    <a:cubicBezTo>
                      <a:pt x="148" y="138"/>
                      <a:pt x="148" y="138"/>
                      <a:pt x="148" y="138"/>
                    </a:cubicBezTo>
                    <a:cubicBezTo>
                      <a:pt x="174" y="189"/>
                      <a:pt x="174" y="189"/>
                      <a:pt x="174" y="189"/>
                    </a:cubicBezTo>
                    <a:cubicBezTo>
                      <a:pt x="216" y="189"/>
                      <a:pt x="216" y="189"/>
                      <a:pt x="216" y="189"/>
                    </a:cubicBezTo>
                    <a:cubicBezTo>
                      <a:pt x="124" y="9"/>
                      <a:pt x="124" y="9"/>
                      <a:pt x="124" y="9"/>
                    </a:cubicBezTo>
                    <a:cubicBezTo>
                      <a:pt x="120" y="3"/>
                      <a:pt x="114" y="0"/>
                      <a:pt x="106" y="0"/>
                    </a:cubicBezTo>
                    <a:cubicBezTo>
                      <a:pt x="106" y="0"/>
                      <a:pt x="106" y="0"/>
                      <a:pt x="106" y="0"/>
                    </a:cubicBezTo>
                    <a:cubicBezTo>
                      <a:pt x="99" y="0"/>
                      <a:pt x="93" y="3"/>
                      <a:pt x="89" y="9"/>
                    </a:cubicBezTo>
                    <a:lnTo>
                      <a:pt x="0" y="189"/>
                    </a:lnTo>
                    <a:close/>
                    <a:moveTo>
                      <a:pt x="106" y="55"/>
                    </a:moveTo>
                    <a:cubicBezTo>
                      <a:pt x="133" y="108"/>
                      <a:pt x="133" y="108"/>
                      <a:pt x="133" y="108"/>
                    </a:cubicBezTo>
                    <a:cubicBezTo>
                      <a:pt x="81" y="108"/>
                      <a:pt x="81" y="108"/>
                      <a:pt x="81" y="108"/>
                    </a:cubicBezTo>
                    <a:lnTo>
                      <a:pt x="106" y="5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1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D0C4B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33" name="Freeform 8">
                <a:extLst>
                  <a:ext uri="{FF2B5EF4-FFF2-40B4-BE49-F238E27FC236}">
                    <a16:creationId xmlns:a16="http://schemas.microsoft.com/office/drawing/2014/main" id="{4538CF9D-90E5-42F7-A244-B3D496C80D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9211" y="437296"/>
                <a:ext cx="128598" cy="127448"/>
              </a:xfrm>
              <a:custGeom>
                <a:avLst/>
                <a:gdLst>
                  <a:gd name="T0" fmla="*/ 190 w 190"/>
                  <a:gd name="T1" fmla="*/ 188 h 188"/>
                  <a:gd name="T2" fmla="*/ 163 w 190"/>
                  <a:gd name="T3" fmla="*/ 188 h 188"/>
                  <a:gd name="T4" fmla="*/ 38 w 190"/>
                  <a:gd name="T5" fmla="*/ 62 h 188"/>
                  <a:gd name="T6" fmla="*/ 38 w 190"/>
                  <a:gd name="T7" fmla="*/ 188 h 188"/>
                  <a:gd name="T8" fmla="*/ 0 w 190"/>
                  <a:gd name="T9" fmla="*/ 188 h 188"/>
                  <a:gd name="T10" fmla="*/ 0 w 190"/>
                  <a:gd name="T11" fmla="*/ 20 h 188"/>
                  <a:gd name="T12" fmla="*/ 21 w 190"/>
                  <a:gd name="T13" fmla="*/ 0 h 188"/>
                  <a:gd name="T14" fmla="*/ 21 w 190"/>
                  <a:gd name="T15" fmla="*/ 0 h 188"/>
                  <a:gd name="T16" fmla="*/ 36 w 190"/>
                  <a:gd name="T17" fmla="*/ 6 h 188"/>
                  <a:gd name="T18" fmla="*/ 152 w 190"/>
                  <a:gd name="T19" fmla="*/ 123 h 188"/>
                  <a:gd name="T20" fmla="*/ 152 w 190"/>
                  <a:gd name="T21" fmla="*/ 12 h 188"/>
                  <a:gd name="T22" fmla="*/ 165 w 190"/>
                  <a:gd name="T23" fmla="*/ 0 h 188"/>
                  <a:gd name="T24" fmla="*/ 178 w 190"/>
                  <a:gd name="T25" fmla="*/ 0 h 188"/>
                  <a:gd name="T26" fmla="*/ 190 w 190"/>
                  <a:gd name="T27" fmla="*/ 12 h 188"/>
                  <a:gd name="T28" fmla="*/ 190 w 190"/>
                  <a:gd name="T29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0" h="188">
                    <a:moveTo>
                      <a:pt x="190" y="188"/>
                    </a:moveTo>
                    <a:cubicBezTo>
                      <a:pt x="163" y="188"/>
                      <a:pt x="163" y="188"/>
                      <a:pt x="163" y="188"/>
                    </a:cubicBezTo>
                    <a:cubicBezTo>
                      <a:pt x="38" y="62"/>
                      <a:pt x="38" y="62"/>
                      <a:pt x="38" y="62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1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7" y="0"/>
                      <a:pt x="32" y="2"/>
                      <a:pt x="36" y="6"/>
                    </a:cubicBezTo>
                    <a:cubicBezTo>
                      <a:pt x="152" y="123"/>
                      <a:pt x="152" y="123"/>
                      <a:pt x="152" y="123"/>
                    </a:cubicBezTo>
                    <a:cubicBezTo>
                      <a:pt x="152" y="12"/>
                      <a:pt x="152" y="12"/>
                      <a:pt x="152" y="12"/>
                    </a:cubicBezTo>
                    <a:cubicBezTo>
                      <a:pt x="152" y="5"/>
                      <a:pt x="158" y="0"/>
                      <a:pt x="165" y="0"/>
                    </a:cubicBezTo>
                    <a:cubicBezTo>
                      <a:pt x="178" y="0"/>
                      <a:pt x="178" y="0"/>
                      <a:pt x="178" y="0"/>
                    </a:cubicBezTo>
                    <a:cubicBezTo>
                      <a:pt x="185" y="0"/>
                      <a:pt x="190" y="5"/>
                      <a:pt x="190" y="12"/>
                    </a:cubicBezTo>
                    <a:lnTo>
                      <a:pt x="190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1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D0C4B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34" name="Freeform 9">
                <a:extLst>
                  <a:ext uri="{FF2B5EF4-FFF2-40B4-BE49-F238E27FC236}">
                    <a16:creationId xmlns:a16="http://schemas.microsoft.com/office/drawing/2014/main" id="{B2A51A98-27CF-4ED6-8860-488C6EC61F7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3586" y="437296"/>
                <a:ext cx="127739" cy="127448"/>
              </a:xfrm>
              <a:custGeom>
                <a:avLst/>
                <a:gdLst>
                  <a:gd name="T0" fmla="*/ 117 w 189"/>
                  <a:gd name="T1" fmla="*/ 4 h 188"/>
                  <a:gd name="T2" fmla="*/ 72 w 189"/>
                  <a:gd name="T3" fmla="*/ 0 h 188"/>
                  <a:gd name="T4" fmla="*/ 19 w 189"/>
                  <a:gd name="T5" fmla="*/ 0 h 188"/>
                  <a:gd name="T6" fmla="*/ 0 w 189"/>
                  <a:gd name="T7" fmla="*/ 18 h 188"/>
                  <a:gd name="T8" fmla="*/ 0 w 189"/>
                  <a:gd name="T9" fmla="*/ 188 h 188"/>
                  <a:gd name="T10" fmla="*/ 62 w 189"/>
                  <a:gd name="T11" fmla="*/ 188 h 188"/>
                  <a:gd name="T12" fmla="*/ 115 w 189"/>
                  <a:gd name="T13" fmla="*/ 182 h 188"/>
                  <a:gd name="T14" fmla="*/ 189 w 189"/>
                  <a:gd name="T15" fmla="*/ 91 h 188"/>
                  <a:gd name="T16" fmla="*/ 117 w 189"/>
                  <a:gd name="T17" fmla="*/ 4 h 188"/>
                  <a:gd name="T18" fmla="*/ 105 w 189"/>
                  <a:gd name="T19" fmla="*/ 148 h 188"/>
                  <a:gd name="T20" fmla="*/ 62 w 189"/>
                  <a:gd name="T21" fmla="*/ 153 h 188"/>
                  <a:gd name="T22" fmla="*/ 62 w 189"/>
                  <a:gd name="T23" fmla="*/ 153 h 188"/>
                  <a:gd name="T24" fmla="*/ 38 w 189"/>
                  <a:gd name="T25" fmla="*/ 153 h 188"/>
                  <a:gd name="T26" fmla="*/ 38 w 189"/>
                  <a:gd name="T27" fmla="*/ 153 h 188"/>
                  <a:gd name="T28" fmla="*/ 38 w 189"/>
                  <a:gd name="T29" fmla="*/ 34 h 188"/>
                  <a:gd name="T30" fmla="*/ 38 w 189"/>
                  <a:gd name="T31" fmla="*/ 34 h 188"/>
                  <a:gd name="T32" fmla="*/ 68 w 189"/>
                  <a:gd name="T33" fmla="*/ 34 h 188"/>
                  <a:gd name="T34" fmla="*/ 68 w 189"/>
                  <a:gd name="T35" fmla="*/ 34 h 188"/>
                  <a:gd name="T36" fmla="*/ 107 w 189"/>
                  <a:gd name="T37" fmla="*/ 38 h 188"/>
                  <a:gd name="T38" fmla="*/ 150 w 189"/>
                  <a:gd name="T39" fmla="*/ 91 h 188"/>
                  <a:gd name="T40" fmla="*/ 105 w 189"/>
                  <a:gd name="T41" fmla="*/ 14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89" h="188">
                    <a:moveTo>
                      <a:pt x="117" y="4"/>
                    </a:moveTo>
                    <a:cubicBezTo>
                      <a:pt x="104" y="1"/>
                      <a:pt x="89" y="0"/>
                      <a:pt x="72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9" y="0"/>
                      <a:pt x="0" y="8"/>
                      <a:pt x="0" y="1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62" y="188"/>
                      <a:pt x="62" y="188"/>
                      <a:pt x="62" y="188"/>
                    </a:cubicBezTo>
                    <a:cubicBezTo>
                      <a:pt x="84" y="188"/>
                      <a:pt x="100" y="186"/>
                      <a:pt x="115" y="182"/>
                    </a:cubicBezTo>
                    <a:cubicBezTo>
                      <a:pt x="163" y="168"/>
                      <a:pt x="189" y="136"/>
                      <a:pt x="189" y="91"/>
                    </a:cubicBezTo>
                    <a:cubicBezTo>
                      <a:pt x="189" y="46"/>
                      <a:pt x="164" y="15"/>
                      <a:pt x="117" y="4"/>
                    </a:cubicBezTo>
                    <a:close/>
                    <a:moveTo>
                      <a:pt x="105" y="148"/>
                    </a:moveTo>
                    <a:cubicBezTo>
                      <a:pt x="94" y="151"/>
                      <a:pt x="79" y="153"/>
                      <a:pt x="62" y="153"/>
                    </a:cubicBezTo>
                    <a:cubicBezTo>
                      <a:pt x="62" y="153"/>
                      <a:pt x="62" y="153"/>
                      <a:pt x="62" y="153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68" y="34"/>
                      <a:pt x="68" y="34"/>
                      <a:pt x="68" y="34"/>
                    </a:cubicBezTo>
                    <a:cubicBezTo>
                      <a:pt x="68" y="34"/>
                      <a:pt x="68" y="34"/>
                      <a:pt x="68" y="34"/>
                    </a:cubicBezTo>
                    <a:cubicBezTo>
                      <a:pt x="86" y="34"/>
                      <a:pt x="97" y="35"/>
                      <a:pt x="107" y="38"/>
                    </a:cubicBezTo>
                    <a:cubicBezTo>
                      <a:pt x="136" y="46"/>
                      <a:pt x="150" y="63"/>
                      <a:pt x="150" y="91"/>
                    </a:cubicBezTo>
                    <a:cubicBezTo>
                      <a:pt x="150" y="120"/>
                      <a:pt x="135" y="139"/>
                      <a:pt x="105" y="14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1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D0C4B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35" name="Freeform 10">
                <a:extLst>
                  <a:ext uri="{FF2B5EF4-FFF2-40B4-BE49-F238E27FC236}">
                    <a16:creationId xmlns:a16="http://schemas.microsoft.com/office/drawing/2014/main" id="{C2CF2ADB-889E-4CDC-89FA-635CBF2ACCD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13256" y="437296"/>
                <a:ext cx="110841" cy="127448"/>
              </a:xfrm>
              <a:custGeom>
                <a:avLst/>
                <a:gdLst>
                  <a:gd name="T0" fmla="*/ 113 w 164"/>
                  <a:gd name="T1" fmla="*/ 113 h 188"/>
                  <a:gd name="T2" fmla="*/ 158 w 164"/>
                  <a:gd name="T3" fmla="*/ 58 h 188"/>
                  <a:gd name="T4" fmla="*/ 82 w 164"/>
                  <a:gd name="T5" fmla="*/ 0 h 188"/>
                  <a:gd name="T6" fmla="*/ 19 w 164"/>
                  <a:gd name="T7" fmla="*/ 0 h 188"/>
                  <a:gd name="T8" fmla="*/ 0 w 164"/>
                  <a:gd name="T9" fmla="*/ 18 h 188"/>
                  <a:gd name="T10" fmla="*/ 0 w 164"/>
                  <a:gd name="T11" fmla="*/ 188 h 188"/>
                  <a:gd name="T12" fmla="*/ 38 w 164"/>
                  <a:gd name="T13" fmla="*/ 188 h 188"/>
                  <a:gd name="T14" fmla="*/ 38 w 164"/>
                  <a:gd name="T15" fmla="*/ 118 h 188"/>
                  <a:gd name="T16" fmla="*/ 72 w 164"/>
                  <a:gd name="T17" fmla="*/ 118 h 188"/>
                  <a:gd name="T18" fmla="*/ 119 w 164"/>
                  <a:gd name="T19" fmla="*/ 188 h 188"/>
                  <a:gd name="T20" fmla="*/ 164 w 164"/>
                  <a:gd name="T21" fmla="*/ 188 h 188"/>
                  <a:gd name="T22" fmla="*/ 113 w 164"/>
                  <a:gd name="T23" fmla="*/ 113 h 188"/>
                  <a:gd name="T24" fmla="*/ 38 w 164"/>
                  <a:gd name="T25" fmla="*/ 83 h 188"/>
                  <a:gd name="T26" fmla="*/ 38 w 164"/>
                  <a:gd name="T27" fmla="*/ 34 h 188"/>
                  <a:gd name="T28" fmla="*/ 85 w 164"/>
                  <a:gd name="T29" fmla="*/ 34 h 188"/>
                  <a:gd name="T30" fmla="*/ 118 w 164"/>
                  <a:gd name="T31" fmla="*/ 59 h 188"/>
                  <a:gd name="T32" fmla="*/ 77 w 164"/>
                  <a:gd name="T33" fmla="*/ 83 h 188"/>
                  <a:gd name="T34" fmla="*/ 38 w 164"/>
                  <a:gd name="T35" fmla="*/ 83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4" h="188">
                    <a:moveTo>
                      <a:pt x="113" y="113"/>
                    </a:moveTo>
                    <a:cubicBezTo>
                      <a:pt x="142" y="105"/>
                      <a:pt x="158" y="86"/>
                      <a:pt x="158" y="58"/>
                    </a:cubicBezTo>
                    <a:cubicBezTo>
                      <a:pt x="158" y="22"/>
                      <a:pt x="129" y="0"/>
                      <a:pt x="82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8" y="0"/>
                      <a:pt x="0" y="8"/>
                      <a:pt x="0" y="1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38" y="118"/>
                      <a:pt x="38" y="118"/>
                      <a:pt x="38" y="118"/>
                    </a:cubicBezTo>
                    <a:cubicBezTo>
                      <a:pt x="72" y="118"/>
                      <a:pt x="72" y="118"/>
                      <a:pt x="72" y="118"/>
                    </a:cubicBezTo>
                    <a:cubicBezTo>
                      <a:pt x="119" y="188"/>
                      <a:pt x="119" y="188"/>
                      <a:pt x="119" y="188"/>
                    </a:cubicBezTo>
                    <a:cubicBezTo>
                      <a:pt x="164" y="188"/>
                      <a:pt x="164" y="188"/>
                      <a:pt x="164" y="188"/>
                    </a:cubicBezTo>
                    <a:lnTo>
                      <a:pt x="113" y="113"/>
                    </a:lnTo>
                    <a:close/>
                    <a:moveTo>
                      <a:pt x="38" y="83"/>
                    </a:moveTo>
                    <a:cubicBezTo>
                      <a:pt x="38" y="34"/>
                      <a:pt x="38" y="34"/>
                      <a:pt x="38" y="34"/>
                    </a:cubicBezTo>
                    <a:cubicBezTo>
                      <a:pt x="85" y="34"/>
                      <a:pt x="85" y="34"/>
                      <a:pt x="85" y="34"/>
                    </a:cubicBezTo>
                    <a:cubicBezTo>
                      <a:pt x="98" y="34"/>
                      <a:pt x="118" y="38"/>
                      <a:pt x="118" y="59"/>
                    </a:cubicBezTo>
                    <a:cubicBezTo>
                      <a:pt x="118" y="69"/>
                      <a:pt x="114" y="83"/>
                      <a:pt x="77" y="83"/>
                    </a:cubicBezTo>
                    <a:lnTo>
                      <a:pt x="38" y="8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1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D0C4B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36" name="Freeform 11">
                <a:extLst>
                  <a:ext uri="{FF2B5EF4-FFF2-40B4-BE49-F238E27FC236}">
                    <a16:creationId xmlns:a16="http://schemas.microsoft.com/office/drawing/2014/main" id="{70FED2A8-4ABE-4286-9510-F734682B88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8516" y="437296"/>
                <a:ext cx="25777" cy="127448"/>
              </a:xfrm>
              <a:custGeom>
                <a:avLst/>
                <a:gdLst>
                  <a:gd name="T0" fmla="*/ 0 w 38"/>
                  <a:gd name="T1" fmla="*/ 188 h 188"/>
                  <a:gd name="T2" fmla="*/ 38 w 38"/>
                  <a:gd name="T3" fmla="*/ 188 h 188"/>
                  <a:gd name="T4" fmla="*/ 38 w 38"/>
                  <a:gd name="T5" fmla="*/ 12 h 188"/>
                  <a:gd name="T6" fmla="*/ 25 w 38"/>
                  <a:gd name="T7" fmla="*/ 0 h 188"/>
                  <a:gd name="T8" fmla="*/ 13 w 38"/>
                  <a:gd name="T9" fmla="*/ 0 h 188"/>
                  <a:gd name="T10" fmla="*/ 0 w 38"/>
                  <a:gd name="T11" fmla="*/ 12 h 188"/>
                  <a:gd name="T12" fmla="*/ 0 w 38"/>
                  <a:gd name="T13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" h="188">
                    <a:moveTo>
                      <a:pt x="0" y="188"/>
                    </a:moveTo>
                    <a:cubicBezTo>
                      <a:pt x="38" y="188"/>
                      <a:pt x="38" y="188"/>
                      <a:pt x="38" y="188"/>
                    </a:cubicBezTo>
                    <a:cubicBezTo>
                      <a:pt x="38" y="12"/>
                      <a:pt x="38" y="12"/>
                      <a:pt x="38" y="12"/>
                    </a:cubicBezTo>
                    <a:cubicBezTo>
                      <a:pt x="38" y="5"/>
                      <a:pt x="32" y="0"/>
                      <a:pt x="25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0" y="5"/>
                      <a:pt x="0" y="12"/>
                    </a:cubicBezTo>
                    <a:lnTo>
                      <a:pt x="0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1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D0C4B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37" name="Freeform 12">
                <a:extLst>
                  <a:ext uri="{FF2B5EF4-FFF2-40B4-BE49-F238E27FC236}">
                    <a16:creationId xmlns:a16="http://schemas.microsoft.com/office/drawing/2014/main" id="{A3FA41FE-0806-4F69-B286-D3E270C3A6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7394" y="437296"/>
                <a:ext cx="118001" cy="127448"/>
              </a:xfrm>
              <a:custGeom>
                <a:avLst/>
                <a:gdLst>
                  <a:gd name="T0" fmla="*/ 174 w 174"/>
                  <a:gd name="T1" fmla="*/ 188 h 188"/>
                  <a:gd name="T2" fmla="*/ 137 w 174"/>
                  <a:gd name="T3" fmla="*/ 188 h 188"/>
                  <a:gd name="T4" fmla="*/ 137 w 174"/>
                  <a:gd name="T5" fmla="*/ 110 h 188"/>
                  <a:gd name="T6" fmla="*/ 38 w 174"/>
                  <a:gd name="T7" fmla="*/ 110 h 188"/>
                  <a:gd name="T8" fmla="*/ 38 w 174"/>
                  <a:gd name="T9" fmla="*/ 188 h 188"/>
                  <a:gd name="T10" fmla="*/ 0 w 174"/>
                  <a:gd name="T11" fmla="*/ 188 h 188"/>
                  <a:gd name="T12" fmla="*/ 0 w 174"/>
                  <a:gd name="T13" fmla="*/ 12 h 188"/>
                  <a:gd name="T14" fmla="*/ 13 w 174"/>
                  <a:gd name="T15" fmla="*/ 0 h 188"/>
                  <a:gd name="T16" fmla="*/ 25 w 174"/>
                  <a:gd name="T17" fmla="*/ 0 h 188"/>
                  <a:gd name="T18" fmla="*/ 38 w 174"/>
                  <a:gd name="T19" fmla="*/ 12 h 188"/>
                  <a:gd name="T20" fmla="*/ 38 w 174"/>
                  <a:gd name="T21" fmla="*/ 75 h 188"/>
                  <a:gd name="T22" fmla="*/ 137 w 174"/>
                  <a:gd name="T23" fmla="*/ 75 h 188"/>
                  <a:gd name="T24" fmla="*/ 137 w 174"/>
                  <a:gd name="T25" fmla="*/ 12 h 188"/>
                  <a:gd name="T26" fmla="*/ 149 w 174"/>
                  <a:gd name="T27" fmla="*/ 0 h 188"/>
                  <a:gd name="T28" fmla="*/ 162 w 174"/>
                  <a:gd name="T29" fmla="*/ 0 h 188"/>
                  <a:gd name="T30" fmla="*/ 174 w 174"/>
                  <a:gd name="T31" fmla="*/ 12 h 188"/>
                  <a:gd name="T32" fmla="*/ 174 w 174"/>
                  <a:gd name="T33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4" h="188">
                    <a:moveTo>
                      <a:pt x="174" y="188"/>
                    </a:moveTo>
                    <a:cubicBezTo>
                      <a:pt x="137" y="188"/>
                      <a:pt x="137" y="188"/>
                      <a:pt x="137" y="188"/>
                    </a:cubicBezTo>
                    <a:cubicBezTo>
                      <a:pt x="137" y="110"/>
                      <a:pt x="137" y="110"/>
                      <a:pt x="137" y="110"/>
                    </a:cubicBezTo>
                    <a:cubicBezTo>
                      <a:pt x="38" y="110"/>
                      <a:pt x="38" y="110"/>
                      <a:pt x="38" y="110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6" y="0"/>
                      <a:pt x="13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32" y="0"/>
                      <a:pt x="38" y="5"/>
                      <a:pt x="38" y="12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137" y="75"/>
                      <a:pt x="137" y="75"/>
                      <a:pt x="137" y="75"/>
                    </a:cubicBezTo>
                    <a:cubicBezTo>
                      <a:pt x="137" y="12"/>
                      <a:pt x="137" y="12"/>
                      <a:pt x="137" y="12"/>
                    </a:cubicBezTo>
                    <a:cubicBezTo>
                      <a:pt x="137" y="5"/>
                      <a:pt x="142" y="0"/>
                      <a:pt x="149" y="0"/>
                    </a:cubicBezTo>
                    <a:cubicBezTo>
                      <a:pt x="162" y="0"/>
                      <a:pt x="162" y="0"/>
                      <a:pt x="162" y="0"/>
                    </a:cubicBezTo>
                    <a:cubicBezTo>
                      <a:pt x="169" y="0"/>
                      <a:pt x="174" y="5"/>
                      <a:pt x="174" y="12"/>
                    </a:cubicBezTo>
                    <a:lnTo>
                      <a:pt x="174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1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D0C4B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38" name="Freeform 13">
                <a:extLst>
                  <a:ext uri="{FF2B5EF4-FFF2-40B4-BE49-F238E27FC236}">
                    <a16:creationId xmlns:a16="http://schemas.microsoft.com/office/drawing/2014/main" id="{EBD6B5BC-EDA8-4A8A-B572-96D41CDE97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5646" y="435864"/>
                <a:ext cx="108836" cy="130025"/>
              </a:xfrm>
              <a:custGeom>
                <a:avLst/>
                <a:gdLst>
                  <a:gd name="T0" fmla="*/ 90 w 161"/>
                  <a:gd name="T1" fmla="*/ 78 h 192"/>
                  <a:gd name="T2" fmla="*/ 46 w 161"/>
                  <a:gd name="T3" fmla="*/ 56 h 192"/>
                  <a:gd name="T4" fmla="*/ 83 w 161"/>
                  <a:gd name="T5" fmla="*/ 36 h 192"/>
                  <a:gd name="T6" fmla="*/ 139 w 161"/>
                  <a:gd name="T7" fmla="*/ 49 h 192"/>
                  <a:gd name="T8" fmla="*/ 140 w 161"/>
                  <a:gd name="T9" fmla="*/ 49 h 192"/>
                  <a:gd name="T10" fmla="*/ 145 w 161"/>
                  <a:gd name="T11" fmla="*/ 47 h 192"/>
                  <a:gd name="T12" fmla="*/ 156 w 161"/>
                  <a:gd name="T13" fmla="*/ 25 h 192"/>
                  <a:gd name="T14" fmla="*/ 156 w 161"/>
                  <a:gd name="T15" fmla="*/ 23 h 192"/>
                  <a:gd name="T16" fmla="*/ 153 w 161"/>
                  <a:gd name="T17" fmla="*/ 18 h 192"/>
                  <a:gd name="T18" fmla="*/ 152 w 161"/>
                  <a:gd name="T19" fmla="*/ 17 h 192"/>
                  <a:gd name="T20" fmla="*/ 81 w 161"/>
                  <a:gd name="T21" fmla="*/ 0 h 192"/>
                  <a:gd name="T22" fmla="*/ 7 w 161"/>
                  <a:gd name="T23" fmla="*/ 57 h 192"/>
                  <a:gd name="T24" fmla="*/ 25 w 161"/>
                  <a:gd name="T25" fmla="*/ 96 h 192"/>
                  <a:gd name="T26" fmla="*/ 80 w 161"/>
                  <a:gd name="T27" fmla="*/ 113 h 192"/>
                  <a:gd name="T28" fmla="*/ 122 w 161"/>
                  <a:gd name="T29" fmla="*/ 133 h 192"/>
                  <a:gd name="T30" fmla="*/ 78 w 161"/>
                  <a:gd name="T31" fmla="*/ 157 h 192"/>
                  <a:gd name="T32" fmla="*/ 22 w 161"/>
                  <a:gd name="T33" fmla="*/ 142 h 192"/>
                  <a:gd name="T34" fmla="*/ 18 w 161"/>
                  <a:gd name="T35" fmla="*/ 139 h 192"/>
                  <a:gd name="T36" fmla="*/ 15 w 161"/>
                  <a:gd name="T37" fmla="*/ 143 h 192"/>
                  <a:gd name="T38" fmla="*/ 2 w 161"/>
                  <a:gd name="T39" fmla="*/ 166 h 192"/>
                  <a:gd name="T40" fmla="*/ 0 w 161"/>
                  <a:gd name="T41" fmla="*/ 170 h 192"/>
                  <a:gd name="T42" fmla="*/ 4 w 161"/>
                  <a:gd name="T43" fmla="*/ 172 h 192"/>
                  <a:gd name="T44" fmla="*/ 77 w 161"/>
                  <a:gd name="T45" fmla="*/ 192 h 192"/>
                  <a:gd name="T46" fmla="*/ 161 w 161"/>
                  <a:gd name="T47" fmla="*/ 132 h 192"/>
                  <a:gd name="T48" fmla="*/ 90 w 161"/>
                  <a:gd name="T49" fmla="*/ 78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61" h="192">
                    <a:moveTo>
                      <a:pt x="90" y="78"/>
                    </a:moveTo>
                    <a:cubicBezTo>
                      <a:pt x="63" y="74"/>
                      <a:pt x="46" y="71"/>
                      <a:pt x="46" y="56"/>
                    </a:cubicBezTo>
                    <a:cubicBezTo>
                      <a:pt x="46" y="43"/>
                      <a:pt x="60" y="36"/>
                      <a:pt x="83" y="36"/>
                    </a:cubicBezTo>
                    <a:cubicBezTo>
                      <a:pt x="109" y="36"/>
                      <a:pt x="130" y="45"/>
                      <a:pt x="139" y="49"/>
                    </a:cubicBezTo>
                    <a:cubicBezTo>
                      <a:pt x="139" y="49"/>
                      <a:pt x="139" y="49"/>
                      <a:pt x="140" y="49"/>
                    </a:cubicBezTo>
                    <a:cubicBezTo>
                      <a:pt x="142" y="49"/>
                      <a:pt x="144" y="49"/>
                      <a:pt x="145" y="47"/>
                    </a:cubicBezTo>
                    <a:cubicBezTo>
                      <a:pt x="156" y="25"/>
                      <a:pt x="156" y="25"/>
                      <a:pt x="156" y="25"/>
                    </a:cubicBezTo>
                    <a:cubicBezTo>
                      <a:pt x="156" y="24"/>
                      <a:pt x="156" y="23"/>
                      <a:pt x="156" y="23"/>
                    </a:cubicBezTo>
                    <a:cubicBezTo>
                      <a:pt x="156" y="21"/>
                      <a:pt x="155" y="19"/>
                      <a:pt x="153" y="18"/>
                    </a:cubicBezTo>
                    <a:cubicBezTo>
                      <a:pt x="152" y="17"/>
                      <a:pt x="152" y="17"/>
                      <a:pt x="152" y="17"/>
                    </a:cubicBezTo>
                    <a:cubicBezTo>
                      <a:pt x="133" y="7"/>
                      <a:pt x="106" y="0"/>
                      <a:pt x="81" y="0"/>
                    </a:cubicBezTo>
                    <a:cubicBezTo>
                      <a:pt x="35" y="0"/>
                      <a:pt x="7" y="22"/>
                      <a:pt x="7" y="57"/>
                    </a:cubicBezTo>
                    <a:cubicBezTo>
                      <a:pt x="7" y="75"/>
                      <a:pt x="13" y="87"/>
                      <a:pt x="25" y="96"/>
                    </a:cubicBezTo>
                    <a:cubicBezTo>
                      <a:pt x="40" y="107"/>
                      <a:pt x="61" y="110"/>
                      <a:pt x="80" y="113"/>
                    </a:cubicBezTo>
                    <a:cubicBezTo>
                      <a:pt x="106" y="117"/>
                      <a:pt x="122" y="119"/>
                      <a:pt x="122" y="133"/>
                    </a:cubicBezTo>
                    <a:cubicBezTo>
                      <a:pt x="122" y="155"/>
                      <a:pt x="91" y="157"/>
                      <a:pt x="78" y="157"/>
                    </a:cubicBezTo>
                    <a:cubicBezTo>
                      <a:pt x="57" y="157"/>
                      <a:pt x="38" y="152"/>
                      <a:pt x="22" y="142"/>
                    </a:cubicBezTo>
                    <a:cubicBezTo>
                      <a:pt x="18" y="139"/>
                      <a:pt x="18" y="139"/>
                      <a:pt x="18" y="139"/>
                    </a:cubicBezTo>
                    <a:cubicBezTo>
                      <a:pt x="15" y="143"/>
                      <a:pt x="15" y="143"/>
                      <a:pt x="15" y="143"/>
                    </a:cubicBezTo>
                    <a:cubicBezTo>
                      <a:pt x="2" y="166"/>
                      <a:pt x="2" y="166"/>
                      <a:pt x="2" y="166"/>
                    </a:cubicBezTo>
                    <a:cubicBezTo>
                      <a:pt x="0" y="170"/>
                      <a:pt x="0" y="170"/>
                      <a:pt x="0" y="170"/>
                    </a:cubicBezTo>
                    <a:cubicBezTo>
                      <a:pt x="4" y="172"/>
                      <a:pt x="4" y="172"/>
                      <a:pt x="4" y="172"/>
                    </a:cubicBezTo>
                    <a:cubicBezTo>
                      <a:pt x="18" y="181"/>
                      <a:pt x="42" y="192"/>
                      <a:pt x="77" y="192"/>
                    </a:cubicBezTo>
                    <a:cubicBezTo>
                      <a:pt x="128" y="192"/>
                      <a:pt x="161" y="169"/>
                      <a:pt x="161" y="132"/>
                    </a:cubicBezTo>
                    <a:cubicBezTo>
                      <a:pt x="161" y="88"/>
                      <a:pt x="122" y="82"/>
                      <a:pt x="90" y="7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1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D0C4B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39" name="Freeform 14">
                <a:extLst>
                  <a:ext uri="{FF2B5EF4-FFF2-40B4-BE49-F238E27FC236}">
                    <a16:creationId xmlns:a16="http://schemas.microsoft.com/office/drawing/2014/main" id="{8BF8F947-77B9-4F91-95B2-D6FC7A5754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2427" y="437296"/>
                <a:ext cx="93943" cy="127448"/>
              </a:xfrm>
              <a:custGeom>
                <a:avLst/>
                <a:gdLst>
                  <a:gd name="T0" fmla="*/ 128 w 139"/>
                  <a:gd name="T1" fmla="*/ 103 h 188"/>
                  <a:gd name="T2" fmla="*/ 121 w 139"/>
                  <a:gd name="T3" fmla="*/ 110 h 188"/>
                  <a:gd name="T4" fmla="*/ 38 w 139"/>
                  <a:gd name="T5" fmla="*/ 110 h 188"/>
                  <a:gd name="T6" fmla="*/ 38 w 139"/>
                  <a:gd name="T7" fmla="*/ 153 h 188"/>
                  <a:gd name="T8" fmla="*/ 139 w 139"/>
                  <a:gd name="T9" fmla="*/ 153 h 188"/>
                  <a:gd name="T10" fmla="*/ 139 w 139"/>
                  <a:gd name="T11" fmla="*/ 188 h 188"/>
                  <a:gd name="T12" fmla="*/ 0 w 139"/>
                  <a:gd name="T13" fmla="*/ 188 h 188"/>
                  <a:gd name="T14" fmla="*/ 0 w 139"/>
                  <a:gd name="T15" fmla="*/ 18 h 188"/>
                  <a:gd name="T16" fmla="*/ 19 w 139"/>
                  <a:gd name="T17" fmla="*/ 0 h 188"/>
                  <a:gd name="T18" fmla="*/ 130 w 139"/>
                  <a:gd name="T19" fmla="*/ 0 h 188"/>
                  <a:gd name="T20" fmla="*/ 137 w 139"/>
                  <a:gd name="T21" fmla="*/ 6 h 188"/>
                  <a:gd name="T22" fmla="*/ 137 w 139"/>
                  <a:gd name="T23" fmla="*/ 27 h 188"/>
                  <a:gd name="T24" fmla="*/ 130 w 139"/>
                  <a:gd name="T25" fmla="*/ 34 h 188"/>
                  <a:gd name="T26" fmla="*/ 38 w 139"/>
                  <a:gd name="T27" fmla="*/ 34 h 188"/>
                  <a:gd name="T28" fmla="*/ 38 w 139"/>
                  <a:gd name="T29" fmla="*/ 75 h 188"/>
                  <a:gd name="T30" fmla="*/ 121 w 139"/>
                  <a:gd name="T31" fmla="*/ 75 h 188"/>
                  <a:gd name="T32" fmla="*/ 128 w 139"/>
                  <a:gd name="T33" fmla="*/ 82 h 188"/>
                  <a:gd name="T34" fmla="*/ 128 w 139"/>
                  <a:gd name="T35" fmla="*/ 103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9" h="188">
                    <a:moveTo>
                      <a:pt x="128" y="103"/>
                    </a:moveTo>
                    <a:cubicBezTo>
                      <a:pt x="128" y="107"/>
                      <a:pt x="124" y="110"/>
                      <a:pt x="121" y="110"/>
                    </a:cubicBezTo>
                    <a:cubicBezTo>
                      <a:pt x="38" y="110"/>
                      <a:pt x="38" y="110"/>
                      <a:pt x="38" y="110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139" y="153"/>
                      <a:pt x="139" y="153"/>
                      <a:pt x="139" y="153"/>
                    </a:cubicBezTo>
                    <a:cubicBezTo>
                      <a:pt x="139" y="188"/>
                      <a:pt x="139" y="188"/>
                      <a:pt x="139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9" y="0"/>
                      <a:pt x="19" y="0"/>
                    </a:cubicBezTo>
                    <a:cubicBezTo>
                      <a:pt x="130" y="0"/>
                      <a:pt x="130" y="0"/>
                      <a:pt x="130" y="0"/>
                    </a:cubicBezTo>
                    <a:cubicBezTo>
                      <a:pt x="134" y="0"/>
                      <a:pt x="137" y="2"/>
                      <a:pt x="137" y="6"/>
                    </a:cubicBezTo>
                    <a:cubicBezTo>
                      <a:pt x="137" y="27"/>
                      <a:pt x="137" y="27"/>
                      <a:pt x="137" y="27"/>
                    </a:cubicBezTo>
                    <a:cubicBezTo>
                      <a:pt x="137" y="32"/>
                      <a:pt x="134" y="34"/>
                      <a:pt x="130" y="34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121" y="75"/>
                      <a:pt x="121" y="75"/>
                      <a:pt x="121" y="75"/>
                    </a:cubicBezTo>
                    <a:cubicBezTo>
                      <a:pt x="124" y="75"/>
                      <a:pt x="128" y="77"/>
                      <a:pt x="128" y="82"/>
                    </a:cubicBezTo>
                    <a:lnTo>
                      <a:pt x="128" y="10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1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D0C4B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</p:grp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44347851-656D-4D60-A2C8-BA0577ED6F9E}"/>
              </a:ext>
            </a:extLst>
          </p:cNvPr>
          <p:cNvSpPr/>
          <p:nvPr/>
        </p:nvSpPr>
        <p:spPr>
          <a:xfrm>
            <a:off x="7632340" y="170515"/>
            <a:ext cx="125098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1200" dirty="0">
                <a:solidFill>
                  <a:schemeClr val="bg1"/>
                </a:solidFill>
                <a:latin typeface="Gotham Light" pitchFamily="2" charset="0"/>
              </a:rPr>
              <a:t>#KIDSTHESEDAYS</a:t>
            </a:r>
            <a:endParaRPr lang="en-US" sz="1200" dirty="0">
              <a:latin typeface="Gotham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03895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sky, person, outdoor&#10;&#10;Description automatically generated">
            <a:extLst>
              <a:ext uri="{FF2B5EF4-FFF2-40B4-BE49-F238E27FC236}">
                <a16:creationId xmlns:a16="http://schemas.microsoft.com/office/drawing/2014/main" id="{F47CE2D1-A092-A14A-A73B-5803FC4507A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9144000" cy="51435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4235E3D-FFC4-4679-B2D3-280FF46FF47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58775" y="358442"/>
            <a:ext cx="8424862" cy="708025"/>
          </a:xfrm>
        </p:spPr>
        <p:txBody>
          <a:bodyPr/>
          <a:lstStyle/>
          <a:p>
            <a:r>
              <a:rPr lang="en-IE" dirty="0">
                <a:solidFill>
                  <a:schemeClr val="bg1"/>
                </a:solidFill>
                <a:latin typeface="Gotham Book" panose="02000504050000020004" pitchFamily="2" charset="0"/>
              </a:rPr>
              <a:t>AUDIO – SHARE OF LISTENING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F82726A-84E5-4C8B-BF3C-4F91E8EE01D0}"/>
              </a:ext>
            </a:extLst>
          </p:cNvPr>
          <p:cNvSpPr txBox="1"/>
          <p:nvPr/>
        </p:nvSpPr>
        <p:spPr>
          <a:xfrm>
            <a:off x="2051720" y="2366759"/>
            <a:ext cx="71686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160"/>
            <a:r>
              <a:rPr lang="en-IE" sz="1600" b="1" dirty="0">
                <a:solidFill>
                  <a:srgbClr val="FFFFFF"/>
                </a:solidFill>
                <a:latin typeface="Gotham Book" panose="02000504050000020004" pitchFamily="2" charset="0"/>
              </a:rPr>
              <a:t>TEEN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E35FE69-3E59-433A-A32F-6E93B27912F2}"/>
              </a:ext>
            </a:extLst>
          </p:cNvPr>
          <p:cNvSpPr txBox="1"/>
          <p:nvPr/>
        </p:nvSpPr>
        <p:spPr>
          <a:xfrm>
            <a:off x="6264188" y="2366759"/>
            <a:ext cx="120097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160"/>
            <a:r>
              <a:rPr lang="en-IE" sz="1600" b="1" dirty="0">
                <a:solidFill>
                  <a:srgbClr val="FFFFFF"/>
                </a:solidFill>
                <a:latin typeface="Gotham Book" panose="02000504050000020004" pitchFamily="2" charset="0"/>
              </a:rPr>
              <a:t>18+ ADUL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AFB2473-1EDB-46DA-B866-AB46F3002E7C}"/>
              </a:ext>
            </a:extLst>
          </p:cNvPr>
          <p:cNvSpPr txBox="1"/>
          <p:nvPr/>
        </p:nvSpPr>
        <p:spPr>
          <a:xfrm>
            <a:off x="215516" y="3795886"/>
            <a:ext cx="424853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60"/>
            <a:r>
              <a:rPr lang="en-IE" sz="2800" b="1" dirty="0">
                <a:solidFill>
                  <a:srgbClr val="FFFFFF"/>
                </a:solidFill>
                <a:latin typeface="Gotham Bold" panose="02000504050000020004" pitchFamily="2" charset="0"/>
              </a:rPr>
              <a:t>132</a:t>
            </a:r>
            <a:r>
              <a:rPr lang="en-IE" sz="1600" b="1" dirty="0">
                <a:solidFill>
                  <a:srgbClr val="FFFFFF"/>
                </a:solidFill>
                <a:latin typeface="Gotham Bold" panose="02000504050000020004" pitchFamily="2" charset="0"/>
              </a:rPr>
              <a:t> </a:t>
            </a:r>
            <a:br>
              <a:rPr lang="en-IE" sz="1600" b="1" dirty="0">
                <a:solidFill>
                  <a:srgbClr val="FFFFFF"/>
                </a:solidFill>
                <a:latin typeface="Gotham Bold" panose="02000504050000020004" pitchFamily="2" charset="0"/>
              </a:rPr>
            </a:br>
            <a:r>
              <a:rPr lang="en-IE" sz="1600" dirty="0">
                <a:solidFill>
                  <a:srgbClr val="FFFFFF"/>
                </a:solidFill>
                <a:latin typeface="Gotham Book" panose="02000504050000020004" pitchFamily="2" charset="0"/>
              </a:rPr>
              <a:t>daily mins spent listening </a:t>
            </a:r>
            <a:br>
              <a:rPr lang="en-IE" sz="1600" dirty="0">
                <a:solidFill>
                  <a:srgbClr val="FFFFFF"/>
                </a:solidFill>
                <a:latin typeface="Gotham Book" panose="02000504050000020004" pitchFamily="2" charset="0"/>
              </a:rPr>
            </a:br>
            <a:r>
              <a:rPr lang="en-IE" sz="1600" dirty="0">
                <a:solidFill>
                  <a:srgbClr val="FFFFFF"/>
                </a:solidFill>
                <a:latin typeface="Gotham Book" panose="02000504050000020004" pitchFamily="2" charset="0"/>
              </a:rPr>
              <a:t>across radio and streaming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E2E1209-B125-4535-B53F-060DED7B3668}"/>
              </a:ext>
            </a:extLst>
          </p:cNvPr>
          <p:cNvSpPr txBox="1"/>
          <p:nvPr/>
        </p:nvSpPr>
        <p:spPr>
          <a:xfrm>
            <a:off x="5130944" y="3795886"/>
            <a:ext cx="349318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60"/>
            <a:r>
              <a:rPr lang="en-IE" sz="2800" b="1" dirty="0">
                <a:solidFill>
                  <a:srgbClr val="FFFFFF"/>
                </a:solidFill>
                <a:latin typeface="Gotham Bold" panose="02000504050000020004" pitchFamily="2" charset="0"/>
              </a:rPr>
              <a:t>102</a:t>
            </a:r>
            <a:r>
              <a:rPr lang="en-IE" sz="2800" dirty="0">
                <a:solidFill>
                  <a:srgbClr val="FFFFFF"/>
                </a:solidFill>
                <a:latin typeface="Gotham Book" panose="02000504050000020004" pitchFamily="2" charset="0"/>
              </a:rPr>
              <a:t> </a:t>
            </a:r>
            <a:br>
              <a:rPr lang="en-IE" sz="1600" dirty="0">
                <a:solidFill>
                  <a:srgbClr val="FFFFFF"/>
                </a:solidFill>
                <a:latin typeface="Gotham Book" panose="02000504050000020004" pitchFamily="2" charset="0"/>
              </a:rPr>
            </a:br>
            <a:r>
              <a:rPr lang="en-IE" sz="1600" dirty="0">
                <a:solidFill>
                  <a:srgbClr val="FFFFFF"/>
                </a:solidFill>
                <a:latin typeface="Gotham Book" panose="02000504050000020004" pitchFamily="2" charset="0"/>
              </a:rPr>
              <a:t>daily mins spent listening </a:t>
            </a:r>
            <a:br>
              <a:rPr lang="en-IE" sz="1600" dirty="0">
                <a:solidFill>
                  <a:srgbClr val="FFFFFF"/>
                </a:solidFill>
                <a:latin typeface="Gotham Book" panose="02000504050000020004" pitchFamily="2" charset="0"/>
              </a:rPr>
            </a:br>
            <a:r>
              <a:rPr lang="en-IE" sz="1600" dirty="0">
                <a:solidFill>
                  <a:srgbClr val="FFFFFF"/>
                </a:solidFill>
                <a:latin typeface="Gotham Book" panose="02000504050000020004" pitchFamily="2" charset="0"/>
              </a:rPr>
              <a:t>across radio and streaming</a:t>
            </a:r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406399F2-47DA-8443-8EBB-C5F7DD7ED0C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59279320"/>
              </p:ext>
            </p:extLst>
          </p:nvPr>
        </p:nvGraphicFramePr>
        <p:xfrm>
          <a:off x="890014" y="1081490"/>
          <a:ext cx="3040273" cy="2980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1C75CB15-B008-5A43-A4F4-F17263EC40D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48857966"/>
              </p:ext>
            </p:extLst>
          </p:nvPr>
        </p:nvGraphicFramePr>
        <p:xfrm>
          <a:off x="5390178" y="1045776"/>
          <a:ext cx="3040273" cy="2980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Frame 10">
            <a:extLst>
              <a:ext uri="{FF2B5EF4-FFF2-40B4-BE49-F238E27FC236}">
                <a16:creationId xmlns:a16="http://schemas.microsoft.com/office/drawing/2014/main" id="{0B195244-C7BC-CA49-8EBE-A497C1D80D4A}"/>
              </a:ext>
            </a:extLst>
          </p:cNvPr>
          <p:cNvSpPr/>
          <p:nvPr/>
        </p:nvSpPr>
        <p:spPr>
          <a:xfrm rot="10800000">
            <a:off x="0" y="0"/>
            <a:ext cx="9144000" cy="5143500"/>
          </a:xfrm>
          <a:prstGeom prst="frame">
            <a:avLst>
              <a:gd name="adj1" fmla="val 1940"/>
            </a:avLst>
          </a:prstGeom>
          <a:gradFill>
            <a:gsLst>
              <a:gs pos="0">
                <a:srgbClr val="3B1F58"/>
              </a:gs>
              <a:gs pos="54000">
                <a:schemeClr val="accent2"/>
              </a:gs>
              <a:gs pos="98000">
                <a:srgbClr val="00A8E2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60"/>
            <a:endParaRPr lang="en-US" sz="1800" dirty="0">
              <a:solidFill>
                <a:srgbClr val="2D0C4B"/>
              </a:solidFill>
              <a:latin typeface="Gotham Book" panose="02000504050000020004" pitchFamily="2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B587ED3-7FD0-4891-9BF4-FD927C4707A1}"/>
              </a:ext>
            </a:extLst>
          </p:cNvPr>
          <p:cNvSpPr/>
          <p:nvPr/>
        </p:nvSpPr>
        <p:spPr>
          <a:xfrm>
            <a:off x="7632340" y="170515"/>
            <a:ext cx="125098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1200" dirty="0">
                <a:solidFill>
                  <a:schemeClr val="bg1"/>
                </a:solidFill>
                <a:latin typeface="Gotham Light" pitchFamily="2" charset="0"/>
              </a:rPr>
              <a:t>#KIDSTHESEDAYS</a:t>
            </a:r>
            <a:endParaRPr lang="en-US" sz="1200" dirty="0">
              <a:latin typeface="Gotham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56163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5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5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6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6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5" grpId="0" uiExpand="1">
        <p:bldSub>
          <a:bldChart bld="category"/>
        </p:bldSub>
      </p:bldGraphic>
      <p:bldGraphic spid="16" grpId="0" uiExpand="1">
        <p:bldSub>
          <a:bldChart bld="category"/>
        </p:bldSub>
      </p:bldGraphic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Image result for how do you do fellow kids">
            <a:extLst>
              <a:ext uri="{FF2B5EF4-FFF2-40B4-BE49-F238E27FC236}">
                <a16:creationId xmlns:a16="http://schemas.microsoft.com/office/drawing/2014/main" id="{D52E3E52-34A6-49EB-AF46-659E41C32F4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7038" y="-776622"/>
            <a:ext cx="9612560" cy="6280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Frame 2">
            <a:extLst>
              <a:ext uri="{FF2B5EF4-FFF2-40B4-BE49-F238E27FC236}">
                <a16:creationId xmlns:a16="http://schemas.microsoft.com/office/drawing/2014/main" id="{27178E3F-7245-457D-8C59-0AB2F7D6FA73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frame">
            <a:avLst>
              <a:gd name="adj1" fmla="val 194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EB84E20-FDDF-4E30-93CD-4FA8252FD223}"/>
              </a:ext>
            </a:extLst>
          </p:cNvPr>
          <p:cNvSpPr/>
          <p:nvPr/>
        </p:nvSpPr>
        <p:spPr>
          <a:xfrm>
            <a:off x="7632340" y="170515"/>
            <a:ext cx="125098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1200" dirty="0">
                <a:solidFill>
                  <a:schemeClr val="bg1"/>
                </a:solidFill>
                <a:latin typeface="Gotham Light" pitchFamily="2" charset="0"/>
              </a:rPr>
              <a:t>#KIDSTHESEDAYS</a:t>
            </a:r>
            <a:endParaRPr lang="en-US" sz="1200" dirty="0">
              <a:latin typeface="Gotham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873514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sky, person, outdoor&#10;&#10;Description automatically generated">
            <a:extLst>
              <a:ext uri="{FF2B5EF4-FFF2-40B4-BE49-F238E27FC236}">
                <a16:creationId xmlns:a16="http://schemas.microsoft.com/office/drawing/2014/main" id="{439197EF-5F17-2A4F-AD6F-1F52F146E5D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alphaModFix amt="36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9144000" cy="5143500"/>
          </a:xfrm>
          <a:prstGeom prst="rect">
            <a:avLst/>
          </a:prstGeom>
        </p:spPr>
      </p:pic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136ED27E-58A9-4982-99B5-6AADF98C8E0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36647005"/>
              </p:ext>
            </p:extLst>
          </p:nvPr>
        </p:nvGraphicFramePr>
        <p:xfrm>
          <a:off x="358775" y="-2396802"/>
          <a:ext cx="8426450" cy="83529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43658514-CCAD-C042-98A9-2FB180E1DDB9}"/>
              </a:ext>
            </a:extLst>
          </p:cNvPr>
          <p:cNvSpPr/>
          <p:nvPr/>
        </p:nvSpPr>
        <p:spPr>
          <a:xfrm>
            <a:off x="358775" y="339725"/>
            <a:ext cx="341991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160"/>
            <a:r>
              <a:rPr lang="en-IE" sz="1600" dirty="0">
                <a:solidFill>
                  <a:srgbClr val="FFFFFF"/>
                </a:solidFill>
                <a:latin typeface="Gotham Medium" panose="02000504050000020004" pitchFamily="2" charset="0"/>
              </a:rPr>
              <a:t>RADIO &amp; MUSIC STREAMING </a:t>
            </a:r>
            <a:br>
              <a:rPr lang="en-IE" sz="1600" b="1" dirty="0">
                <a:solidFill>
                  <a:srgbClr val="FFFFFF"/>
                </a:solidFill>
                <a:latin typeface="Gotham Book" panose="02000504050000020004" pitchFamily="2" charset="0"/>
              </a:rPr>
            </a:br>
            <a:r>
              <a:rPr lang="en-IE" sz="1600" b="1" dirty="0">
                <a:solidFill>
                  <a:srgbClr val="FFFFFF"/>
                </a:solidFill>
                <a:latin typeface="Gotham Book" panose="02000504050000020004" pitchFamily="2" charset="0"/>
              </a:rPr>
              <a:t>BY TIME OF THE DAY</a:t>
            </a:r>
            <a:endParaRPr lang="en-US" sz="1600" b="1" dirty="0">
              <a:solidFill>
                <a:srgbClr val="FFFFFF"/>
              </a:solidFill>
              <a:latin typeface="Gotham Book" panose="02000504050000020004" pitchFamily="2" charset="0"/>
            </a:endParaRPr>
          </a:p>
        </p:txBody>
      </p:sp>
      <p:sp>
        <p:nvSpPr>
          <p:cNvPr id="8" name="Frame 7">
            <a:extLst>
              <a:ext uri="{FF2B5EF4-FFF2-40B4-BE49-F238E27FC236}">
                <a16:creationId xmlns:a16="http://schemas.microsoft.com/office/drawing/2014/main" id="{F4338625-3EFA-9A4E-88C2-CF6CDECB6F13}"/>
              </a:ext>
            </a:extLst>
          </p:cNvPr>
          <p:cNvSpPr/>
          <p:nvPr/>
        </p:nvSpPr>
        <p:spPr>
          <a:xfrm rot="10800000">
            <a:off x="0" y="0"/>
            <a:ext cx="9144000" cy="5143500"/>
          </a:xfrm>
          <a:prstGeom prst="frame">
            <a:avLst>
              <a:gd name="adj1" fmla="val 194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60"/>
            <a:endParaRPr lang="en-US" sz="1800" dirty="0">
              <a:solidFill>
                <a:srgbClr val="2D0C4B"/>
              </a:solidFill>
              <a:latin typeface="Gotham Book" panose="02000504050000020004" pitchFamily="2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1C3AF12-5800-4B46-8202-C30579E53F97}"/>
              </a:ext>
            </a:extLst>
          </p:cNvPr>
          <p:cNvSpPr/>
          <p:nvPr/>
        </p:nvSpPr>
        <p:spPr>
          <a:xfrm>
            <a:off x="7632340" y="170515"/>
            <a:ext cx="125098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1200" dirty="0">
                <a:solidFill>
                  <a:schemeClr val="bg1"/>
                </a:solidFill>
                <a:latin typeface="Gotham Light" pitchFamily="2" charset="0"/>
              </a:rPr>
              <a:t>#KIDSTHESEDAYS</a:t>
            </a:r>
            <a:endParaRPr lang="en-US" sz="1200" dirty="0">
              <a:latin typeface="Gotham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05114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0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0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0" grpId="0" uiExpand="1">
        <p:bldSub>
          <a:bldChart bld="series"/>
        </p:bldSub>
      </p:bldGraphic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ame 5">
            <a:extLst>
              <a:ext uri="{FF2B5EF4-FFF2-40B4-BE49-F238E27FC236}">
                <a16:creationId xmlns:a16="http://schemas.microsoft.com/office/drawing/2014/main" id="{04CF2000-1BA7-A34C-BAC9-BAD41130B85C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frame">
            <a:avLst>
              <a:gd name="adj1" fmla="val 194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D0C4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2E40BA0-6DD9-DF4E-801B-4E03E9B4125E}"/>
              </a:ext>
            </a:extLst>
          </p:cNvPr>
          <p:cNvSpPr/>
          <p:nvPr/>
        </p:nvSpPr>
        <p:spPr>
          <a:xfrm>
            <a:off x="2547467" y="468126"/>
            <a:ext cx="4085107" cy="17795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F492E2-433D-B849-B63D-FCE8B902E3A9}"/>
              </a:ext>
            </a:extLst>
          </p:cNvPr>
          <p:cNvSpPr/>
          <p:nvPr/>
        </p:nvSpPr>
        <p:spPr>
          <a:xfrm>
            <a:off x="6819900" y="472678"/>
            <a:ext cx="1964568" cy="177503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5C8D15-ABC7-0D4D-93F2-92926573B5C5}"/>
              </a:ext>
            </a:extLst>
          </p:cNvPr>
          <p:cNvSpPr/>
          <p:nvPr/>
        </p:nvSpPr>
        <p:spPr>
          <a:xfrm>
            <a:off x="2534805" y="2297113"/>
            <a:ext cx="6249663" cy="191756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7DECA29-BC34-0947-AFAE-DC23B3D9E71C}"/>
              </a:ext>
            </a:extLst>
          </p:cNvPr>
          <p:cNvSpPr txBox="1"/>
          <p:nvPr/>
        </p:nvSpPr>
        <p:spPr>
          <a:xfrm>
            <a:off x="358775" y="319058"/>
            <a:ext cx="197322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Book" panose="02000504050000020004" pitchFamily="2" charset="0"/>
                <a:ea typeface="+mn-ea"/>
                <a:cs typeface="+mn-cs"/>
              </a:rPr>
              <a:t>KEY TAKEAWAY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EEE08AD-E775-0849-80E4-3EB3477EF27A}"/>
              </a:ext>
            </a:extLst>
          </p:cNvPr>
          <p:cNvSpPr/>
          <p:nvPr/>
        </p:nvSpPr>
        <p:spPr>
          <a:xfrm>
            <a:off x="2614351" y="519113"/>
            <a:ext cx="4018223" cy="13603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Book" panose="02000504050000020004" pitchFamily="2" charset="0"/>
                <a:ea typeface="+mn-ea"/>
                <a:cs typeface="+mn-cs"/>
              </a:rPr>
              <a:t>Align to Gen Z’s attitudes as pragmatic people who value authenticity above all els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EA2A922-C1CF-DC42-BC85-63E9D9A5DD33}"/>
              </a:ext>
            </a:extLst>
          </p:cNvPr>
          <p:cNvSpPr/>
          <p:nvPr/>
        </p:nvSpPr>
        <p:spPr>
          <a:xfrm>
            <a:off x="2614351" y="2422688"/>
            <a:ext cx="5666061" cy="16252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GB" sz="2800" dirty="0">
                <a:solidFill>
                  <a:srgbClr val="FFFFFF"/>
                </a:solidFill>
                <a:latin typeface="Gotham Book" panose="02000504050000020004" pitchFamily="2" charset="0"/>
              </a:rPr>
              <a:t>The opportunity to target teenagers is open and will continue to be in the future</a:t>
            </a:r>
            <a:endParaRPr kumimoji="0" lang="en-GB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 Book" panose="02000504050000020004" pitchFamily="2" charset="0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68028CF-9165-1445-AAE3-5705D754DDCB}"/>
              </a:ext>
            </a:extLst>
          </p:cNvPr>
          <p:cNvSpPr/>
          <p:nvPr/>
        </p:nvSpPr>
        <p:spPr>
          <a:xfrm>
            <a:off x="6876256" y="519113"/>
            <a:ext cx="1872208" cy="13354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Book" panose="02000504050000020004" pitchFamily="2" charset="0"/>
                <a:ea typeface="+mn-ea"/>
                <a:cs typeface="+mn-cs"/>
              </a:rPr>
              <a:t>TV is not dead</a:t>
            </a:r>
            <a:r>
              <a:rPr kumimoji="0" lang="en-GB" sz="1400" b="0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Book" panose="02000504050000020004" pitchFamily="2" charset="0"/>
                <a:ea typeface="+mn-ea"/>
                <a:cs typeface="+mn-cs"/>
              </a:rPr>
              <a:t> and attention is on S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Book" panose="02000504050000020004" pitchFamily="2" charset="0"/>
                <a:ea typeface="+mn-ea"/>
                <a:cs typeface="+mn-cs"/>
              </a:rPr>
              <a:t>napchat and music streaming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5BAA6C6-9C0D-45ED-9EC6-1249031D2E15}"/>
              </a:ext>
            </a:extLst>
          </p:cNvPr>
          <p:cNvSpPr/>
          <p:nvPr/>
        </p:nvSpPr>
        <p:spPr>
          <a:xfrm>
            <a:off x="7632340" y="170515"/>
            <a:ext cx="125098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1200" dirty="0">
                <a:solidFill>
                  <a:schemeClr val="bg1"/>
                </a:solidFill>
                <a:latin typeface="Gotham Light" pitchFamily="2" charset="0"/>
              </a:rPr>
              <a:t>#KIDSTHESEDAYS</a:t>
            </a:r>
            <a:endParaRPr lang="en-US" sz="1200" dirty="0">
              <a:latin typeface="Gotham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01583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  <p:bldP spid="8" grpId="0" animBg="1"/>
      <p:bldP spid="10" grpId="0"/>
      <p:bldP spid="11" grpId="0"/>
      <p:bldP spid="12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Frame 44">
            <a:extLst>
              <a:ext uri="{FF2B5EF4-FFF2-40B4-BE49-F238E27FC236}">
                <a16:creationId xmlns:a16="http://schemas.microsoft.com/office/drawing/2014/main" id="{559D8B6B-A621-A940-AE67-7282FCD220F2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frame">
            <a:avLst>
              <a:gd name="adj1" fmla="val 194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350ECAE-BE44-450A-A871-CFDAD1FB7D0C}"/>
              </a:ext>
            </a:extLst>
          </p:cNvPr>
          <p:cNvSpPr/>
          <p:nvPr/>
        </p:nvSpPr>
        <p:spPr>
          <a:xfrm>
            <a:off x="7740352" y="159482"/>
            <a:ext cx="125098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1200" dirty="0">
                <a:solidFill>
                  <a:schemeClr val="bg1"/>
                </a:solidFill>
                <a:latin typeface="Gotham Light" pitchFamily="2" charset="0"/>
              </a:rPr>
              <a:t>#KIDSTHESEDAYS</a:t>
            </a:r>
            <a:endParaRPr lang="en-US" sz="1200" dirty="0">
              <a:latin typeface="Gotham Light" pitchFamily="2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08B5BBD-55C2-4ADD-90AB-FEF1A29C468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651" y="95425"/>
            <a:ext cx="8964996" cy="4949391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E30E5B3D-5215-4E0B-BF65-854A2114576A}"/>
              </a:ext>
            </a:extLst>
          </p:cNvPr>
          <p:cNvSpPr/>
          <p:nvPr/>
        </p:nvSpPr>
        <p:spPr>
          <a:xfrm>
            <a:off x="10616" y="1779662"/>
            <a:ext cx="9144000" cy="233065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C509765-8E36-4945-9542-5D27DC716CA7}"/>
              </a:ext>
            </a:extLst>
          </p:cNvPr>
          <p:cNvSpPr txBox="1"/>
          <p:nvPr/>
        </p:nvSpPr>
        <p:spPr>
          <a:xfrm>
            <a:off x="226840" y="1867607"/>
            <a:ext cx="8382051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GB" sz="3200" b="1" dirty="0">
                <a:solidFill>
                  <a:schemeClr val="bg1"/>
                </a:solidFill>
                <a:latin typeface="Gotham Bold" panose="02000504050000020004" pitchFamily="2" charset="0"/>
              </a:rPr>
              <a:t>FOR THE FULL RESEARCH STUDY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BA315A7-E39D-46A2-8C43-9D7A643F426F}"/>
              </a:ext>
            </a:extLst>
          </p:cNvPr>
          <p:cNvSpPr/>
          <p:nvPr/>
        </p:nvSpPr>
        <p:spPr>
          <a:xfrm>
            <a:off x="231819" y="2595056"/>
            <a:ext cx="6480720" cy="1384995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lvl="0">
              <a:spcAft>
                <a:spcPts val="0"/>
              </a:spcAft>
              <a:tabLst>
                <a:tab pos="457200" algn="l"/>
              </a:tabLst>
            </a:pPr>
            <a:r>
              <a:rPr lang="en-GB" sz="1200" b="1" dirty="0">
                <a:solidFill>
                  <a:schemeClr val="bg1"/>
                </a:solidFill>
                <a:latin typeface="Gotham Book" panose="02000504050000020004" pitchFamily="2" charset="0"/>
                <a:ea typeface="Calibri" panose="020F0502020204030204" pitchFamily="34" charset="0"/>
              </a:rPr>
              <a:t>EIMEAR MCGRATH</a:t>
            </a:r>
          </a:p>
          <a:p>
            <a:pPr lvl="0">
              <a:spcAft>
                <a:spcPts val="0"/>
              </a:spcAft>
              <a:tabLst>
                <a:tab pos="457200" algn="l"/>
              </a:tabLst>
            </a:pPr>
            <a:r>
              <a:rPr lang="en-GB" sz="1200" b="1" i="1" dirty="0">
                <a:solidFill>
                  <a:schemeClr val="bg1"/>
                </a:solidFill>
                <a:latin typeface="Gotham Book" panose="02000504050000020004" pitchFamily="2" charset="0"/>
                <a:ea typeface="Calibri" panose="020F0502020204030204" pitchFamily="34" charset="0"/>
              </a:rPr>
              <a:t>Research Director</a:t>
            </a:r>
          </a:p>
          <a:p>
            <a:pPr lvl="0">
              <a:spcAft>
                <a:spcPts val="0"/>
              </a:spcAft>
              <a:tabLst>
                <a:tab pos="457200" algn="l"/>
              </a:tabLst>
            </a:pPr>
            <a:r>
              <a:rPr lang="en-GB" sz="1200" b="1" i="1" dirty="0">
                <a:solidFill>
                  <a:schemeClr val="bg1"/>
                </a:solidFill>
                <a:latin typeface="Gotham Book" panose="02000504050000020004" pitchFamily="2" charset="0"/>
                <a:ea typeface="Calibri" panose="020F0502020204030204" pitchFamily="34" charset="0"/>
              </a:rPr>
              <a:t>Mindshare Ireland</a:t>
            </a:r>
          </a:p>
          <a:p>
            <a:pPr lvl="0">
              <a:spcAft>
                <a:spcPts val="0"/>
              </a:spcAft>
              <a:tabLst>
                <a:tab pos="457200" algn="l"/>
              </a:tabLst>
            </a:pPr>
            <a:endParaRPr lang="en-GB" sz="1200" b="1" i="1" dirty="0">
              <a:solidFill>
                <a:schemeClr val="bg1"/>
              </a:solidFill>
              <a:latin typeface="Gotham Book" panose="02000504050000020004" pitchFamily="2" charset="0"/>
              <a:ea typeface="Calibri" panose="020F0502020204030204" pitchFamily="34" charset="0"/>
            </a:endParaRPr>
          </a:p>
          <a:p>
            <a:pPr lvl="0">
              <a:spcAft>
                <a:spcPts val="0"/>
              </a:spcAft>
              <a:tabLst>
                <a:tab pos="457200" algn="l"/>
              </a:tabLst>
            </a:pPr>
            <a:r>
              <a:rPr lang="en-GB" sz="1200" b="1" dirty="0">
                <a:solidFill>
                  <a:schemeClr val="bg1"/>
                </a:solidFill>
                <a:latin typeface="Gotham Book" panose="02000504050000020004" pitchFamily="2" charset="0"/>
                <a:ea typeface="Calibri" panose="020F0502020204030204" pitchFamily="34" charset="0"/>
              </a:rPr>
              <a:t>eimear.mcgrath@mindshareworld.com</a:t>
            </a:r>
          </a:p>
          <a:p>
            <a:pPr lvl="0">
              <a:spcAft>
                <a:spcPts val="0"/>
              </a:spcAft>
              <a:tabLst>
                <a:tab pos="457200" algn="l"/>
              </a:tabLst>
            </a:pPr>
            <a:endParaRPr lang="en-GB" sz="1200" b="1" dirty="0">
              <a:solidFill>
                <a:schemeClr val="bg1"/>
              </a:solidFill>
              <a:latin typeface="Gotham Book" panose="02000504050000020004" pitchFamily="2" charset="0"/>
              <a:ea typeface="Calibri" panose="020F0502020204030204" pitchFamily="34" charset="0"/>
            </a:endParaRPr>
          </a:p>
          <a:p>
            <a:pPr lvl="0">
              <a:spcAft>
                <a:spcPts val="0"/>
              </a:spcAft>
              <a:tabLst>
                <a:tab pos="457200" algn="l"/>
              </a:tabLst>
            </a:pPr>
            <a:endParaRPr lang="en-GB" sz="1200" b="1" dirty="0">
              <a:solidFill>
                <a:schemeClr val="bg1"/>
              </a:solidFill>
              <a:latin typeface="Gotham Book" panose="02000504050000020004" pitchFamily="2" charset="0"/>
              <a:ea typeface="Calibri" panose="020F0502020204030204" pitchFamily="34" charset="0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1368DA95-8DF5-4193-8D30-4FD43456A698}"/>
              </a:ext>
            </a:extLst>
          </p:cNvPr>
          <p:cNvGrpSpPr>
            <a:grpSpLocks noChangeAspect="1"/>
          </p:cNvGrpSpPr>
          <p:nvPr/>
        </p:nvGrpSpPr>
        <p:grpSpPr>
          <a:xfrm>
            <a:off x="7167439" y="1976089"/>
            <a:ext cx="1603826" cy="494112"/>
            <a:chOff x="5043330" y="2582427"/>
            <a:chExt cx="2714033" cy="836158"/>
          </a:xfrm>
        </p:grpSpPr>
        <p:pic>
          <p:nvPicPr>
            <p:cNvPr id="24" name="logo graphic">
              <a:extLst>
                <a:ext uri="{FF2B5EF4-FFF2-40B4-BE49-F238E27FC236}">
                  <a16:creationId xmlns:a16="http://schemas.microsoft.com/office/drawing/2014/main" id="{B7FD2D37-FA27-49F7-A496-9687D68E954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21205" y="2582427"/>
              <a:ext cx="836158" cy="836158"/>
            </a:xfrm>
            <a:prstGeom prst="rect">
              <a:avLst/>
            </a:prstGeom>
          </p:spPr>
        </p:pic>
        <p:grpSp>
          <p:nvGrpSpPr>
            <p:cNvPr id="25" name="letters">
              <a:extLst>
                <a:ext uri="{FF2B5EF4-FFF2-40B4-BE49-F238E27FC236}">
                  <a16:creationId xmlns:a16="http://schemas.microsoft.com/office/drawing/2014/main" id="{0E44B9F9-18BA-4947-B6FD-BCC97E5F7CA9}"/>
                </a:ext>
              </a:extLst>
            </p:cNvPr>
            <p:cNvGrpSpPr/>
            <p:nvPr/>
          </p:nvGrpSpPr>
          <p:grpSpPr>
            <a:xfrm>
              <a:off x="5043330" y="2901718"/>
              <a:ext cx="1777426" cy="197580"/>
              <a:chOff x="566670" y="435864"/>
              <a:chExt cx="1169700" cy="130025"/>
            </a:xfrm>
            <a:solidFill>
              <a:srgbClr val="FFFFFF"/>
            </a:solidFill>
          </p:grpSpPr>
          <p:sp>
            <p:nvSpPr>
              <p:cNvPr id="26" name="Freeform 6">
                <a:extLst>
                  <a:ext uri="{FF2B5EF4-FFF2-40B4-BE49-F238E27FC236}">
                    <a16:creationId xmlns:a16="http://schemas.microsoft.com/office/drawing/2014/main" id="{7C377180-83DB-4422-9774-1855890C11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670" y="437296"/>
                <a:ext cx="146069" cy="127448"/>
              </a:xfrm>
              <a:custGeom>
                <a:avLst/>
                <a:gdLst>
                  <a:gd name="T0" fmla="*/ 216 w 216"/>
                  <a:gd name="T1" fmla="*/ 188 h 188"/>
                  <a:gd name="T2" fmla="*/ 178 w 216"/>
                  <a:gd name="T3" fmla="*/ 188 h 188"/>
                  <a:gd name="T4" fmla="*/ 178 w 216"/>
                  <a:gd name="T5" fmla="*/ 66 h 188"/>
                  <a:gd name="T6" fmla="*/ 113 w 216"/>
                  <a:gd name="T7" fmla="*/ 145 h 188"/>
                  <a:gd name="T8" fmla="*/ 103 w 216"/>
                  <a:gd name="T9" fmla="*/ 145 h 188"/>
                  <a:gd name="T10" fmla="*/ 38 w 216"/>
                  <a:gd name="T11" fmla="*/ 66 h 188"/>
                  <a:gd name="T12" fmla="*/ 38 w 216"/>
                  <a:gd name="T13" fmla="*/ 188 h 188"/>
                  <a:gd name="T14" fmla="*/ 0 w 216"/>
                  <a:gd name="T15" fmla="*/ 188 h 188"/>
                  <a:gd name="T16" fmla="*/ 0 w 216"/>
                  <a:gd name="T17" fmla="*/ 20 h 188"/>
                  <a:gd name="T18" fmla="*/ 20 w 216"/>
                  <a:gd name="T19" fmla="*/ 0 h 188"/>
                  <a:gd name="T20" fmla="*/ 20 w 216"/>
                  <a:gd name="T21" fmla="*/ 0 h 188"/>
                  <a:gd name="T22" fmla="*/ 38 w 216"/>
                  <a:gd name="T23" fmla="*/ 9 h 188"/>
                  <a:gd name="T24" fmla="*/ 108 w 216"/>
                  <a:gd name="T25" fmla="*/ 94 h 188"/>
                  <a:gd name="T26" fmla="*/ 182 w 216"/>
                  <a:gd name="T27" fmla="*/ 6 h 188"/>
                  <a:gd name="T28" fmla="*/ 196 w 216"/>
                  <a:gd name="T29" fmla="*/ 0 h 188"/>
                  <a:gd name="T30" fmla="*/ 196 w 216"/>
                  <a:gd name="T31" fmla="*/ 0 h 188"/>
                  <a:gd name="T32" fmla="*/ 216 w 216"/>
                  <a:gd name="T33" fmla="*/ 19 h 188"/>
                  <a:gd name="T34" fmla="*/ 216 w 216"/>
                  <a:gd name="T35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16" h="188">
                    <a:moveTo>
                      <a:pt x="216" y="188"/>
                    </a:moveTo>
                    <a:cubicBezTo>
                      <a:pt x="178" y="188"/>
                      <a:pt x="178" y="188"/>
                      <a:pt x="178" y="188"/>
                    </a:cubicBezTo>
                    <a:cubicBezTo>
                      <a:pt x="178" y="66"/>
                      <a:pt x="178" y="66"/>
                      <a:pt x="178" y="66"/>
                    </a:cubicBezTo>
                    <a:cubicBezTo>
                      <a:pt x="113" y="145"/>
                      <a:pt x="113" y="145"/>
                      <a:pt x="113" y="145"/>
                    </a:cubicBezTo>
                    <a:cubicBezTo>
                      <a:pt x="110" y="148"/>
                      <a:pt x="106" y="148"/>
                      <a:pt x="103" y="145"/>
                    </a:cubicBezTo>
                    <a:cubicBezTo>
                      <a:pt x="38" y="66"/>
                      <a:pt x="38" y="66"/>
                      <a:pt x="38" y="66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8" y="0"/>
                      <a:pt x="32" y="3"/>
                      <a:pt x="38" y="9"/>
                    </a:cubicBezTo>
                    <a:cubicBezTo>
                      <a:pt x="108" y="94"/>
                      <a:pt x="108" y="94"/>
                      <a:pt x="108" y="94"/>
                    </a:cubicBezTo>
                    <a:cubicBezTo>
                      <a:pt x="182" y="6"/>
                      <a:pt x="182" y="6"/>
                      <a:pt x="182" y="6"/>
                    </a:cubicBezTo>
                    <a:cubicBezTo>
                      <a:pt x="185" y="2"/>
                      <a:pt x="190" y="0"/>
                      <a:pt x="196" y="0"/>
                    </a:cubicBezTo>
                    <a:cubicBezTo>
                      <a:pt x="196" y="0"/>
                      <a:pt x="196" y="0"/>
                      <a:pt x="196" y="0"/>
                    </a:cubicBezTo>
                    <a:cubicBezTo>
                      <a:pt x="207" y="0"/>
                      <a:pt x="216" y="8"/>
                      <a:pt x="216" y="19"/>
                    </a:cubicBezTo>
                    <a:lnTo>
                      <a:pt x="216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1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D0C4B"/>
                  </a:solidFill>
                  <a:effectLst/>
                  <a:uLnTx/>
                  <a:uFillTx/>
                  <a:sym typeface="Arial"/>
                </a:endParaRPr>
              </a:p>
            </p:txBody>
          </p:sp>
          <p:sp>
            <p:nvSpPr>
              <p:cNvPr id="27" name="Freeform 7">
                <a:extLst>
                  <a:ext uri="{FF2B5EF4-FFF2-40B4-BE49-F238E27FC236}">
                    <a16:creationId xmlns:a16="http://schemas.microsoft.com/office/drawing/2014/main" id="{A838E375-3834-4AB7-8FCF-BE40BF28170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50862" y="436723"/>
                <a:ext cx="146069" cy="128020"/>
              </a:xfrm>
              <a:custGeom>
                <a:avLst/>
                <a:gdLst>
                  <a:gd name="T0" fmla="*/ 0 w 216"/>
                  <a:gd name="T1" fmla="*/ 189 h 189"/>
                  <a:gd name="T2" fmla="*/ 42 w 216"/>
                  <a:gd name="T3" fmla="*/ 189 h 189"/>
                  <a:gd name="T4" fmla="*/ 66 w 216"/>
                  <a:gd name="T5" fmla="*/ 138 h 189"/>
                  <a:gd name="T6" fmla="*/ 148 w 216"/>
                  <a:gd name="T7" fmla="*/ 138 h 189"/>
                  <a:gd name="T8" fmla="*/ 174 w 216"/>
                  <a:gd name="T9" fmla="*/ 189 h 189"/>
                  <a:gd name="T10" fmla="*/ 216 w 216"/>
                  <a:gd name="T11" fmla="*/ 189 h 189"/>
                  <a:gd name="T12" fmla="*/ 124 w 216"/>
                  <a:gd name="T13" fmla="*/ 9 h 189"/>
                  <a:gd name="T14" fmla="*/ 106 w 216"/>
                  <a:gd name="T15" fmla="*/ 0 h 189"/>
                  <a:gd name="T16" fmla="*/ 106 w 216"/>
                  <a:gd name="T17" fmla="*/ 0 h 189"/>
                  <a:gd name="T18" fmla="*/ 89 w 216"/>
                  <a:gd name="T19" fmla="*/ 9 h 189"/>
                  <a:gd name="T20" fmla="*/ 0 w 216"/>
                  <a:gd name="T21" fmla="*/ 189 h 189"/>
                  <a:gd name="T22" fmla="*/ 106 w 216"/>
                  <a:gd name="T23" fmla="*/ 55 h 189"/>
                  <a:gd name="T24" fmla="*/ 133 w 216"/>
                  <a:gd name="T25" fmla="*/ 108 h 189"/>
                  <a:gd name="T26" fmla="*/ 81 w 216"/>
                  <a:gd name="T27" fmla="*/ 108 h 189"/>
                  <a:gd name="T28" fmla="*/ 106 w 216"/>
                  <a:gd name="T29" fmla="*/ 55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16" h="189">
                    <a:moveTo>
                      <a:pt x="0" y="189"/>
                    </a:moveTo>
                    <a:cubicBezTo>
                      <a:pt x="42" y="189"/>
                      <a:pt x="42" y="189"/>
                      <a:pt x="42" y="189"/>
                    </a:cubicBezTo>
                    <a:cubicBezTo>
                      <a:pt x="66" y="138"/>
                      <a:pt x="66" y="138"/>
                      <a:pt x="66" y="138"/>
                    </a:cubicBezTo>
                    <a:cubicBezTo>
                      <a:pt x="148" y="138"/>
                      <a:pt x="148" y="138"/>
                      <a:pt x="148" y="138"/>
                    </a:cubicBezTo>
                    <a:cubicBezTo>
                      <a:pt x="174" y="189"/>
                      <a:pt x="174" y="189"/>
                      <a:pt x="174" y="189"/>
                    </a:cubicBezTo>
                    <a:cubicBezTo>
                      <a:pt x="216" y="189"/>
                      <a:pt x="216" y="189"/>
                      <a:pt x="216" y="189"/>
                    </a:cubicBezTo>
                    <a:cubicBezTo>
                      <a:pt x="124" y="9"/>
                      <a:pt x="124" y="9"/>
                      <a:pt x="124" y="9"/>
                    </a:cubicBezTo>
                    <a:cubicBezTo>
                      <a:pt x="120" y="3"/>
                      <a:pt x="114" y="0"/>
                      <a:pt x="106" y="0"/>
                    </a:cubicBezTo>
                    <a:cubicBezTo>
                      <a:pt x="106" y="0"/>
                      <a:pt x="106" y="0"/>
                      <a:pt x="106" y="0"/>
                    </a:cubicBezTo>
                    <a:cubicBezTo>
                      <a:pt x="99" y="0"/>
                      <a:pt x="93" y="3"/>
                      <a:pt x="89" y="9"/>
                    </a:cubicBezTo>
                    <a:lnTo>
                      <a:pt x="0" y="189"/>
                    </a:lnTo>
                    <a:close/>
                    <a:moveTo>
                      <a:pt x="106" y="55"/>
                    </a:moveTo>
                    <a:cubicBezTo>
                      <a:pt x="133" y="108"/>
                      <a:pt x="133" y="108"/>
                      <a:pt x="133" y="108"/>
                    </a:cubicBezTo>
                    <a:cubicBezTo>
                      <a:pt x="81" y="108"/>
                      <a:pt x="81" y="108"/>
                      <a:pt x="81" y="108"/>
                    </a:cubicBezTo>
                    <a:lnTo>
                      <a:pt x="106" y="5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1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D0C4B"/>
                  </a:solidFill>
                  <a:effectLst/>
                  <a:uLnTx/>
                  <a:uFillTx/>
                  <a:sym typeface="Arial"/>
                </a:endParaRPr>
              </a:p>
            </p:txBody>
          </p:sp>
          <p:sp>
            <p:nvSpPr>
              <p:cNvPr id="28" name="Freeform 8">
                <a:extLst>
                  <a:ext uri="{FF2B5EF4-FFF2-40B4-BE49-F238E27FC236}">
                    <a16:creationId xmlns:a16="http://schemas.microsoft.com/office/drawing/2014/main" id="{1BD506C9-C2EC-4464-83D6-0AA16BFE72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9211" y="437296"/>
                <a:ext cx="128598" cy="127448"/>
              </a:xfrm>
              <a:custGeom>
                <a:avLst/>
                <a:gdLst>
                  <a:gd name="T0" fmla="*/ 190 w 190"/>
                  <a:gd name="T1" fmla="*/ 188 h 188"/>
                  <a:gd name="T2" fmla="*/ 163 w 190"/>
                  <a:gd name="T3" fmla="*/ 188 h 188"/>
                  <a:gd name="T4" fmla="*/ 38 w 190"/>
                  <a:gd name="T5" fmla="*/ 62 h 188"/>
                  <a:gd name="T6" fmla="*/ 38 w 190"/>
                  <a:gd name="T7" fmla="*/ 188 h 188"/>
                  <a:gd name="T8" fmla="*/ 0 w 190"/>
                  <a:gd name="T9" fmla="*/ 188 h 188"/>
                  <a:gd name="T10" fmla="*/ 0 w 190"/>
                  <a:gd name="T11" fmla="*/ 20 h 188"/>
                  <a:gd name="T12" fmla="*/ 21 w 190"/>
                  <a:gd name="T13" fmla="*/ 0 h 188"/>
                  <a:gd name="T14" fmla="*/ 21 w 190"/>
                  <a:gd name="T15" fmla="*/ 0 h 188"/>
                  <a:gd name="T16" fmla="*/ 36 w 190"/>
                  <a:gd name="T17" fmla="*/ 6 h 188"/>
                  <a:gd name="T18" fmla="*/ 152 w 190"/>
                  <a:gd name="T19" fmla="*/ 123 h 188"/>
                  <a:gd name="T20" fmla="*/ 152 w 190"/>
                  <a:gd name="T21" fmla="*/ 12 h 188"/>
                  <a:gd name="T22" fmla="*/ 165 w 190"/>
                  <a:gd name="T23" fmla="*/ 0 h 188"/>
                  <a:gd name="T24" fmla="*/ 178 w 190"/>
                  <a:gd name="T25" fmla="*/ 0 h 188"/>
                  <a:gd name="T26" fmla="*/ 190 w 190"/>
                  <a:gd name="T27" fmla="*/ 12 h 188"/>
                  <a:gd name="T28" fmla="*/ 190 w 190"/>
                  <a:gd name="T29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0" h="188">
                    <a:moveTo>
                      <a:pt x="190" y="188"/>
                    </a:moveTo>
                    <a:cubicBezTo>
                      <a:pt x="163" y="188"/>
                      <a:pt x="163" y="188"/>
                      <a:pt x="163" y="188"/>
                    </a:cubicBezTo>
                    <a:cubicBezTo>
                      <a:pt x="38" y="62"/>
                      <a:pt x="38" y="62"/>
                      <a:pt x="38" y="62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1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7" y="0"/>
                      <a:pt x="32" y="2"/>
                      <a:pt x="36" y="6"/>
                    </a:cubicBezTo>
                    <a:cubicBezTo>
                      <a:pt x="152" y="123"/>
                      <a:pt x="152" y="123"/>
                      <a:pt x="152" y="123"/>
                    </a:cubicBezTo>
                    <a:cubicBezTo>
                      <a:pt x="152" y="12"/>
                      <a:pt x="152" y="12"/>
                      <a:pt x="152" y="12"/>
                    </a:cubicBezTo>
                    <a:cubicBezTo>
                      <a:pt x="152" y="5"/>
                      <a:pt x="158" y="0"/>
                      <a:pt x="165" y="0"/>
                    </a:cubicBezTo>
                    <a:cubicBezTo>
                      <a:pt x="178" y="0"/>
                      <a:pt x="178" y="0"/>
                      <a:pt x="178" y="0"/>
                    </a:cubicBezTo>
                    <a:cubicBezTo>
                      <a:pt x="185" y="0"/>
                      <a:pt x="190" y="5"/>
                      <a:pt x="190" y="12"/>
                    </a:cubicBezTo>
                    <a:lnTo>
                      <a:pt x="190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1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D0C4B"/>
                  </a:solidFill>
                  <a:effectLst/>
                  <a:uLnTx/>
                  <a:uFillTx/>
                  <a:sym typeface="Arial"/>
                </a:endParaRPr>
              </a:p>
            </p:txBody>
          </p:sp>
          <p:sp>
            <p:nvSpPr>
              <p:cNvPr id="29" name="Freeform 9">
                <a:extLst>
                  <a:ext uri="{FF2B5EF4-FFF2-40B4-BE49-F238E27FC236}">
                    <a16:creationId xmlns:a16="http://schemas.microsoft.com/office/drawing/2014/main" id="{D79B969F-4DD4-45ED-88A4-94D80255F9C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3586" y="437296"/>
                <a:ext cx="127739" cy="127448"/>
              </a:xfrm>
              <a:custGeom>
                <a:avLst/>
                <a:gdLst>
                  <a:gd name="T0" fmla="*/ 117 w 189"/>
                  <a:gd name="T1" fmla="*/ 4 h 188"/>
                  <a:gd name="T2" fmla="*/ 72 w 189"/>
                  <a:gd name="T3" fmla="*/ 0 h 188"/>
                  <a:gd name="T4" fmla="*/ 19 w 189"/>
                  <a:gd name="T5" fmla="*/ 0 h 188"/>
                  <a:gd name="T6" fmla="*/ 0 w 189"/>
                  <a:gd name="T7" fmla="*/ 18 h 188"/>
                  <a:gd name="T8" fmla="*/ 0 w 189"/>
                  <a:gd name="T9" fmla="*/ 188 h 188"/>
                  <a:gd name="T10" fmla="*/ 62 w 189"/>
                  <a:gd name="T11" fmla="*/ 188 h 188"/>
                  <a:gd name="T12" fmla="*/ 115 w 189"/>
                  <a:gd name="T13" fmla="*/ 182 h 188"/>
                  <a:gd name="T14" fmla="*/ 189 w 189"/>
                  <a:gd name="T15" fmla="*/ 91 h 188"/>
                  <a:gd name="T16" fmla="*/ 117 w 189"/>
                  <a:gd name="T17" fmla="*/ 4 h 188"/>
                  <a:gd name="T18" fmla="*/ 105 w 189"/>
                  <a:gd name="T19" fmla="*/ 148 h 188"/>
                  <a:gd name="T20" fmla="*/ 62 w 189"/>
                  <a:gd name="T21" fmla="*/ 153 h 188"/>
                  <a:gd name="T22" fmla="*/ 62 w 189"/>
                  <a:gd name="T23" fmla="*/ 153 h 188"/>
                  <a:gd name="T24" fmla="*/ 38 w 189"/>
                  <a:gd name="T25" fmla="*/ 153 h 188"/>
                  <a:gd name="T26" fmla="*/ 38 w 189"/>
                  <a:gd name="T27" fmla="*/ 153 h 188"/>
                  <a:gd name="T28" fmla="*/ 38 w 189"/>
                  <a:gd name="T29" fmla="*/ 34 h 188"/>
                  <a:gd name="T30" fmla="*/ 38 w 189"/>
                  <a:gd name="T31" fmla="*/ 34 h 188"/>
                  <a:gd name="T32" fmla="*/ 68 w 189"/>
                  <a:gd name="T33" fmla="*/ 34 h 188"/>
                  <a:gd name="T34" fmla="*/ 68 w 189"/>
                  <a:gd name="T35" fmla="*/ 34 h 188"/>
                  <a:gd name="T36" fmla="*/ 107 w 189"/>
                  <a:gd name="T37" fmla="*/ 38 h 188"/>
                  <a:gd name="T38" fmla="*/ 150 w 189"/>
                  <a:gd name="T39" fmla="*/ 91 h 188"/>
                  <a:gd name="T40" fmla="*/ 105 w 189"/>
                  <a:gd name="T41" fmla="*/ 14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89" h="188">
                    <a:moveTo>
                      <a:pt x="117" y="4"/>
                    </a:moveTo>
                    <a:cubicBezTo>
                      <a:pt x="104" y="1"/>
                      <a:pt x="89" y="0"/>
                      <a:pt x="72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9" y="0"/>
                      <a:pt x="0" y="8"/>
                      <a:pt x="0" y="1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62" y="188"/>
                      <a:pt x="62" y="188"/>
                      <a:pt x="62" y="188"/>
                    </a:cubicBezTo>
                    <a:cubicBezTo>
                      <a:pt x="84" y="188"/>
                      <a:pt x="100" y="186"/>
                      <a:pt x="115" y="182"/>
                    </a:cubicBezTo>
                    <a:cubicBezTo>
                      <a:pt x="163" y="168"/>
                      <a:pt x="189" y="136"/>
                      <a:pt x="189" y="91"/>
                    </a:cubicBezTo>
                    <a:cubicBezTo>
                      <a:pt x="189" y="46"/>
                      <a:pt x="164" y="15"/>
                      <a:pt x="117" y="4"/>
                    </a:cubicBezTo>
                    <a:close/>
                    <a:moveTo>
                      <a:pt x="105" y="148"/>
                    </a:moveTo>
                    <a:cubicBezTo>
                      <a:pt x="94" y="151"/>
                      <a:pt x="79" y="153"/>
                      <a:pt x="62" y="153"/>
                    </a:cubicBezTo>
                    <a:cubicBezTo>
                      <a:pt x="62" y="153"/>
                      <a:pt x="62" y="153"/>
                      <a:pt x="62" y="153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68" y="34"/>
                      <a:pt x="68" y="34"/>
                      <a:pt x="68" y="34"/>
                    </a:cubicBezTo>
                    <a:cubicBezTo>
                      <a:pt x="68" y="34"/>
                      <a:pt x="68" y="34"/>
                      <a:pt x="68" y="34"/>
                    </a:cubicBezTo>
                    <a:cubicBezTo>
                      <a:pt x="86" y="34"/>
                      <a:pt x="97" y="35"/>
                      <a:pt x="107" y="38"/>
                    </a:cubicBezTo>
                    <a:cubicBezTo>
                      <a:pt x="136" y="46"/>
                      <a:pt x="150" y="63"/>
                      <a:pt x="150" y="91"/>
                    </a:cubicBezTo>
                    <a:cubicBezTo>
                      <a:pt x="150" y="120"/>
                      <a:pt x="135" y="139"/>
                      <a:pt x="105" y="14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1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D0C4B"/>
                  </a:solidFill>
                  <a:effectLst/>
                  <a:uLnTx/>
                  <a:uFillTx/>
                  <a:sym typeface="Arial"/>
                </a:endParaRPr>
              </a:p>
            </p:txBody>
          </p:sp>
          <p:sp>
            <p:nvSpPr>
              <p:cNvPr id="30" name="Freeform 10">
                <a:extLst>
                  <a:ext uri="{FF2B5EF4-FFF2-40B4-BE49-F238E27FC236}">
                    <a16:creationId xmlns:a16="http://schemas.microsoft.com/office/drawing/2014/main" id="{80761441-F2C7-47B0-96E0-1F7C5AA302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13256" y="437296"/>
                <a:ext cx="110841" cy="127448"/>
              </a:xfrm>
              <a:custGeom>
                <a:avLst/>
                <a:gdLst>
                  <a:gd name="T0" fmla="*/ 113 w 164"/>
                  <a:gd name="T1" fmla="*/ 113 h 188"/>
                  <a:gd name="T2" fmla="*/ 158 w 164"/>
                  <a:gd name="T3" fmla="*/ 58 h 188"/>
                  <a:gd name="T4" fmla="*/ 82 w 164"/>
                  <a:gd name="T5" fmla="*/ 0 h 188"/>
                  <a:gd name="T6" fmla="*/ 19 w 164"/>
                  <a:gd name="T7" fmla="*/ 0 h 188"/>
                  <a:gd name="T8" fmla="*/ 0 w 164"/>
                  <a:gd name="T9" fmla="*/ 18 h 188"/>
                  <a:gd name="T10" fmla="*/ 0 w 164"/>
                  <a:gd name="T11" fmla="*/ 188 h 188"/>
                  <a:gd name="T12" fmla="*/ 38 w 164"/>
                  <a:gd name="T13" fmla="*/ 188 h 188"/>
                  <a:gd name="T14" fmla="*/ 38 w 164"/>
                  <a:gd name="T15" fmla="*/ 118 h 188"/>
                  <a:gd name="T16" fmla="*/ 72 w 164"/>
                  <a:gd name="T17" fmla="*/ 118 h 188"/>
                  <a:gd name="T18" fmla="*/ 119 w 164"/>
                  <a:gd name="T19" fmla="*/ 188 h 188"/>
                  <a:gd name="T20" fmla="*/ 164 w 164"/>
                  <a:gd name="T21" fmla="*/ 188 h 188"/>
                  <a:gd name="T22" fmla="*/ 113 w 164"/>
                  <a:gd name="T23" fmla="*/ 113 h 188"/>
                  <a:gd name="T24" fmla="*/ 38 w 164"/>
                  <a:gd name="T25" fmla="*/ 83 h 188"/>
                  <a:gd name="T26" fmla="*/ 38 w 164"/>
                  <a:gd name="T27" fmla="*/ 34 h 188"/>
                  <a:gd name="T28" fmla="*/ 85 w 164"/>
                  <a:gd name="T29" fmla="*/ 34 h 188"/>
                  <a:gd name="T30" fmla="*/ 118 w 164"/>
                  <a:gd name="T31" fmla="*/ 59 h 188"/>
                  <a:gd name="T32" fmla="*/ 77 w 164"/>
                  <a:gd name="T33" fmla="*/ 83 h 188"/>
                  <a:gd name="T34" fmla="*/ 38 w 164"/>
                  <a:gd name="T35" fmla="*/ 83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4" h="188">
                    <a:moveTo>
                      <a:pt x="113" y="113"/>
                    </a:moveTo>
                    <a:cubicBezTo>
                      <a:pt x="142" y="105"/>
                      <a:pt x="158" y="86"/>
                      <a:pt x="158" y="58"/>
                    </a:cubicBezTo>
                    <a:cubicBezTo>
                      <a:pt x="158" y="22"/>
                      <a:pt x="129" y="0"/>
                      <a:pt x="82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8" y="0"/>
                      <a:pt x="0" y="8"/>
                      <a:pt x="0" y="1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38" y="118"/>
                      <a:pt x="38" y="118"/>
                      <a:pt x="38" y="118"/>
                    </a:cubicBezTo>
                    <a:cubicBezTo>
                      <a:pt x="72" y="118"/>
                      <a:pt x="72" y="118"/>
                      <a:pt x="72" y="118"/>
                    </a:cubicBezTo>
                    <a:cubicBezTo>
                      <a:pt x="119" y="188"/>
                      <a:pt x="119" y="188"/>
                      <a:pt x="119" y="188"/>
                    </a:cubicBezTo>
                    <a:cubicBezTo>
                      <a:pt x="164" y="188"/>
                      <a:pt x="164" y="188"/>
                      <a:pt x="164" y="188"/>
                    </a:cubicBezTo>
                    <a:lnTo>
                      <a:pt x="113" y="113"/>
                    </a:lnTo>
                    <a:close/>
                    <a:moveTo>
                      <a:pt x="38" y="83"/>
                    </a:moveTo>
                    <a:cubicBezTo>
                      <a:pt x="38" y="34"/>
                      <a:pt x="38" y="34"/>
                      <a:pt x="38" y="34"/>
                    </a:cubicBezTo>
                    <a:cubicBezTo>
                      <a:pt x="85" y="34"/>
                      <a:pt x="85" y="34"/>
                      <a:pt x="85" y="34"/>
                    </a:cubicBezTo>
                    <a:cubicBezTo>
                      <a:pt x="98" y="34"/>
                      <a:pt x="118" y="38"/>
                      <a:pt x="118" y="59"/>
                    </a:cubicBezTo>
                    <a:cubicBezTo>
                      <a:pt x="118" y="69"/>
                      <a:pt x="114" y="83"/>
                      <a:pt x="77" y="83"/>
                    </a:cubicBezTo>
                    <a:lnTo>
                      <a:pt x="38" y="8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1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D0C4B"/>
                  </a:solidFill>
                  <a:effectLst/>
                  <a:uLnTx/>
                  <a:uFillTx/>
                  <a:sym typeface="Arial"/>
                </a:endParaRPr>
              </a:p>
            </p:txBody>
          </p:sp>
          <p:sp>
            <p:nvSpPr>
              <p:cNvPr id="31" name="Freeform 11">
                <a:extLst>
                  <a:ext uri="{FF2B5EF4-FFF2-40B4-BE49-F238E27FC236}">
                    <a16:creationId xmlns:a16="http://schemas.microsoft.com/office/drawing/2014/main" id="{333C47DB-2224-44CD-8C1B-596E5FC6DA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8516" y="437296"/>
                <a:ext cx="25777" cy="127448"/>
              </a:xfrm>
              <a:custGeom>
                <a:avLst/>
                <a:gdLst>
                  <a:gd name="T0" fmla="*/ 0 w 38"/>
                  <a:gd name="T1" fmla="*/ 188 h 188"/>
                  <a:gd name="T2" fmla="*/ 38 w 38"/>
                  <a:gd name="T3" fmla="*/ 188 h 188"/>
                  <a:gd name="T4" fmla="*/ 38 w 38"/>
                  <a:gd name="T5" fmla="*/ 12 h 188"/>
                  <a:gd name="T6" fmla="*/ 25 w 38"/>
                  <a:gd name="T7" fmla="*/ 0 h 188"/>
                  <a:gd name="T8" fmla="*/ 13 w 38"/>
                  <a:gd name="T9" fmla="*/ 0 h 188"/>
                  <a:gd name="T10" fmla="*/ 0 w 38"/>
                  <a:gd name="T11" fmla="*/ 12 h 188"/>
                  <a:gd name="T12" fmla="*/ 0 w 38"/>
                  <a:gd name="T13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" h="188">
                    <a:moveTo>
                      <a:pt x="0" y="188"/>
                    </a:moveTo>
                    <a:cubicBezTo>
                      <a:pt x="38" y="188"/>
                      <a:pt x="38" y="188"/>
                      <a:pt x="38" y="188"/>
                    </a:cubicBezTo>
                    <a:cubicBezTo>
                      <a:pt x="38" y="12"/>
                      <a:pt x="38" y="12"/>
                      <a:pt x="38" y="12"/>
                    </a:cubicBezTo>
                    <a:cubicBezTo>
                      <a:pt x="38" y="5"/>
                      <a:pt x="32" y="0"/>
                      <a:pt x="25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0" y="5"/>
                      <a:pt x="0" y="12"/>
                    </a:cubicBezTo>
                    <a:lnTo>
                      <a:pt x="0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1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D0C4B"/>
                  </a:solidFill>
                  <a:effectLst/>
                  <a:uLnTx/>
                  <a:uFillTx/>
                  <a:sym typeface="Arial"/>
                </a:endParaRPr>
              </a:p>
            </p:txBody>
          </p:sp>
          <p:sp>
            <p:nvSpPr>
              <p:cNvPr id="32" name="Freeform 12">
                <a:extLst>
                  <a:ext uri="{FF2B5EF4-FFF2-40B4-BE49-F238E27FC236}">
                    <a16:creationId xmlns:a16="http://schemas.microsoft.com/office/drawing/2014/main" id="{6BC3392C-E63D-41F7-B7F5-0B8D464B49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7394" y="437296"/>
                <a:ext cx="118001" cy="127448"/>
              </a:xfrm>
              <a:custGeom>
                <a:avLst/>
                <a:gdLst>
                  <a:gd name="T0" fmla="*/ 174 w 174"/>
                  <a:gd name="T1" fmla="*/ 188 h 188"/>
                  <a:gd name="T2" fmla="*/ 137 w 174"/>
                  <a:gd name="T3" fmla="*/ 188 h 188"/>
                  <a:gd name="T4" fmla="*/ 137 w 174"/>
                  <a:gd name="T5" fmla="*/ 110 h 188"/>
                  <a:gd name="T6" fmla="*/ 38 w 174"/>
                  <a:gd name="T7" fmla="*/ 110 h 188"/>
                  <a:gd name="T8" fmla="*/ 38 w 174"/>
                  <a:gd name="T9" fmla="*/ 188 h 188"/>
                  <a:gd name="T10" fmla="*/ 0 w 174"/>
                  <a:gd name="T11" fmla="*/ 188 h 188"/>
                  <a:gd name="T12" fmla="*/ 0 w 174"/>
                  <a:gd name="T13" fmla="*/ 12 h 188"/>
                  <a:gd name="T14" fmla="*/ 13 w 174"/>
                  <a:gd name="T15" fmla="*/ 0 h 188"/>
                  <a:gd name="T16" fmla="*/ 25 w 174"/>
                  <a:gd name="T17" fmla="*/ 0 h 188"/>
                  <a:gd name="T18" fmla="*/ 38 w 174"/>
                  <a:gd name="T19" fmla="*/ 12 h 188"/>
                  <a:gd name="T20" fmla="*/ 38 w 174"/>
                  <a:gd name="T21" fmla="*/ 75 h 188"/>
                  <a:gd name="T22" fmla="*/ 137 w 174"/>
                  <a:gd name="T23" fmla="*/ 75 h 188"/>
                  <a:gd name="T24" fmla="*/ 137 w 174"/>
                  <a:gd name="T25" fmla="*/ 12 h 188"/>
                  <a:gd name="T26" fmla="*/ 149 w 174"/>
                  <a:gd name="T27" fmla="*/ 0 h 188"/>
                  <a:gd name="T28" fmla="*/ 162 w 174"/>
                  <a:gd name="T29" fmla="*/ 0 h 188"/>
                  <a:gd name="T30" fmla="*/ 174 w 174"/>
                  <a:gd name="T31" fmla="*/ 12 h 188"/>
                  <a:gd name="T32" fmla="*/ 174 w 174"/>
                  <a:gd name="T33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4" h="188">
                    <a:moveTo>
                      <a:pt x="174" y="188"/>
                    </a:moveTo>
                    <a:cubicBezTo>
                      <a:pt x="137" y="188"/>
                      <a:pt x="137" y="188"/>
                      <a:pt x="137" y="188"/>
                    </a:cubicBezTo>
                    <a:cubicBezTo>
                      <a:pt x="137" y="110"/>
                      <a:pt x="137" y="110"/>
                      <a:pt x="137" y="110"/>
                    </a:cubicBezTo>
                    <a:cubicBezTo>
                      <a:pt x="38" y="110"/>
                      <a:pt x="38" y="110"/>
                      <a:pt x="38" y="110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6" y="0"/>
                      <a:pt x="13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32" y="0"/>
                      <a:pt x="38" y="5"/>
                      <a:pt x="38" y="12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137" y="75"/>
                      <a:pt x="137" y="75"/>
                      <a:pt x="137" y="75"/>
                    </a:cubicBezTo>
                    <a:cubicBezTo>
                      <a:pt x="137" y="12"/>
                      <a:pt x="137" y="12"/>
                      <a:pt x="137" y="12"/>
                    </a:cubicBezTo>
                    <a:cubicBezTo>
                      <a:pt x="137" y="5"/>
                      <a:pt x="142" y="0"/>
                      <a:pt x="149" y="0"/>
                    </a:cubicBezTo>
                    <a:cubicBezTo>
                      <a:pt x="162" y="0"/>
                      <a:pt x="162" y="0"/>
                      <a:pt x="162" y="0"/>
                    </a:cubicBezTo>
                    <a:cubicBezTo>
                      <a:pt x="169" y="0"/>
                      <a:pt x="174" y="5"/>
                      <a:pt x="174" y="12"/>
                    </a:cubicBezTo>
                    <a:lnTo>
                      <a:pt x="174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1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D0C4B"/>
                  </a:solidFill>
                  <a:effectLst/>
                  <a:uLnTx/>
                  <a:uFillTx/>
                  <a:sym typeface="Arial"/>
                </a:endParaRPr>
              </a:p>
            </p:txBody>
          </p:sp>
          <p:sp>
            <p:nvSpPr>
              <p:cNvPr id="33" name="Freeform 13">
                <a:extLst>
                  <a:ext uri="{FF2B5EF4-FFF2-40B4-BE49-F238E27FC236}">
                    <a16:creationId xmlns:a16="http://schemas.microsoft.com/office/drawing/2014/main" id="{6CF86E8E-D227-4316-BE70-8B33C10043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5646" y="435864"/>
                <a:ext cx="108836" cy="130025"/>
              </a:xfrm>
              <a:custGeom>
                <a:avLst/>
                <a:gdLst>
                  <a:gd name="T0" fmla="*/ 90 w 161"/>
                  <a:gd name="T1" fmla="*/ 78 h 192"/>
                  <a:gd name="T2" fmla="*/ 46 w 161"/>
                  <a:gd name="T3" fmla="*/ 56 h 192"/>
                  <a:gd name="T4" fmla="*/ 83 w 161"/>
                  <a:gd name="T5" fmla="*/ 36 h 192"/>
                  <a:gd name="T6" fmla="*/ 139 w 161"/>
                  <a:gd name="T7" fmla="*/ 49 h 192"/>
                  <a:gd name="T8" fmla="*/ 140 w 161"/>
                  <a:gd name="T9" fmla="*/ 49 h 192"/>
                  <a:gd name="T10" fmla="*/ 145 w 161"/>
                  <a:gd name="T11" fmla="*/ 47 h 192"/>
                  <a:gd name="T12" fmla="*/ 156 w 161"/>
                  <a:gd name="T13" fmla="*/ 25 h 192"/>
                  <a:gd name="T14" fmla="*/ 156 w 161"/>
                  <a:gd name="T15" fmla="*/ 23 h 192"/>
                  <a:gd name="T16" fmla="*/ 153 w 161"/>
                  <a:gd name="T17" fmla="*/ 18 h 192"/>
                  <a:gd name="T18" fmla="*/ 152 w 161"/>
                  <a:gd name="T19" fmla="*/ 17 h 192"/>
                  <a:gd name="T20" fmla="*/ 81 w 161"/>
                  <a:gd name="T21" fmla="*/ 0 h 192"/>
                  <a:gd name="T22" fmla="*/ 7 w 161"/>
                  <a:gd name="T23" fmla="*/ 57 h 192"/>
                  <a:gd name="T24" fmla="*/ 25 w 161"/>
                  <a:gd name="T25" fmla="*/ 96 h 192"/>
                  <a:gd name="T26" fmla="*/ 80 w 161"/>
                  <a:gd name="T27" fmla="*/ 113 h 192"/>
                  <a:gd name="T28" fmla="*/ 122 w 161"/>
                  <a:gd name="T29" fmla="*/ 133 h 192"/>
                  <a:gd name="T30" fmla="*/ 78 w 161"/>
                  <a:gd name="T31" fmla="*/ 157 h 192"/>
                  <a:gd name="T32" fmla="*/ 22 w 161"/>
                  <a:gd name="T33" fmla="*/ 142 h 192"/>
                  <a:gd name="T34" fmla="*/ 18 w 161"/>
                  <a:gd name="T35" fmla="*/ 139 h 192"/>
                  <a:gd name="T36" fmla="*/ 15 w 161"/>
                  <a:gd name="T37" fmla="*/ 143 h 192"/>
                  <a:gd name="T38" fmla="*/ 2 w 161"/>
                  <a:gd name="T39" fmla="*/ 166 h 192"/>
                  <a:gd name="T40" fmla="*/ 0 w 161"/>
                  <a:gd name="T41" fmla="*/ 170 h 192"/>
                  <a:gd name="T42" fmla="*/ 4 w 161"/>
                  <a:gd name="T43" fmla="*/ 172 h 192"/>
                  <a:gd name="T44" fmla="*/ 77 w 161"/>
                  <a:gd name="T45" fmla="*/ 192 h 192"/>
                  <a:gd name="T46" fmla="*/ 161 w 161"/>
                  <a:gd name="T47" fmla="*/ 132 h 192"/>
                  <a:gd name="T48" fmla="*/ 90 w 161"/>
                  <a:gd name="T49" fmla="*/ 78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61" h="192">
                    <a:moveTo>
                      <a:pt x="90" y="78"/>
                    </a:moveTo>
                    <a:cubicBezTo>
                      <a:pt x="63" y="74"/>
                      <a:pt x="46" y="71"/>
                      <a:pt x="46" y="56"/>
                    </a:cubicBezTo>
                    <a:cubicBezTo>
                      <a:pt x="46" y="43"/>
                      <a:pt x="60" y="36"/>
                      <a:pt x="83" y="36"/>
                    </a:cubicBezTo>
                    <a:cubicBezTo>
                      <a:pt x="109" y="36"/>
                      <a:pt x="130" y="45"/>
                      <a:pt x="139" y="49"/>
                    </a:cubicBezTo>
                    <a:cubicBezTo>
                      <a:pt x="139" y="49"/>
                      <a:pt x="139" y="49"/>
                      <a:pt x="140" y="49"/>
                    </a:cubicBezTo>
                    <a:cubicBezTo>
                      <a:pt x="142" y="49"/>
                      <a:pt x="144" y="49"/>
                      <a:pt x="145" y="47"/>
                    </a:cubicBezTo>
                    <a:cubicBezTo>
                      <a:pt x="156" y="25"/>
                      <a:pt x="156" y="25"/>
                      <a:pt x="156" y="25"/>
                    </a:cubicBezTo>
                    <a:cubicBezTo>
                      <a:pt x="156" y="24"/>
                      <a:pt x="156" y="23"/>
                      <a:pt x="156" y="23"/>
                    </a:cubicBezTo>
                    <a:cubicBezTo>
                      <a:pt x="156" y="21"/>
                      <a:pt x="155" y="19"/>
                      <a:pt x="153" y="18"/>
                    </a:cubicBezTo>
                    <a:cubicBezTo>
                      <a:pt x="152" y="17"/>
                      <a:pt x="152" y="17"/>
                      <a:pt x="152" y="17"/>
                    </a:cubicBezTo>
                    <a:cubicBezTo>
                      <a:pt x="133" y="7"/>
                      <a:pt x="106" y="0"/>
                      <a:pt x="81" y="0"/>
                    </a:cubicBezTo>
                    <a:cubicBezTo>
                      <a:pt x="35" y="0"/>
                      <a:pt x="7" y="22"/>
                      <a:pt x="7" y="57"/>
                    </a:cubicBezTo>
                    <a:cubicBezTo>
                      <a:pt x="7" y="75"/>
                      <a:pt x="13" y="87"/>
                      <a:pt x="25" y="96"/>
                    </a:cubicBezTo>
                    <a:cubicBezTo>
                      <a:pt x="40" y="107"/>
                      <a:pt x="61" y="110"/>
                      <a:pt x="80" y="113"/>
                    </a:cubicBezTo>
                    <a:cubicBezTo>
                      <a:pt x="106" y="117"/>
                      <a:pt x="122" y="119"/>
                      <a:pt x="122" y="133"/>
                    </a:cubicBezTo>
                    <a:cubicBezTo>
                      <a:pt x="122" y="155"/>
                      <a:pt x="91" y="157"/>
                      <a:pt x="78" y="157"/>
                    </a:cubicBezTo>
                    <a:cubicBezTo>
                      <a:pt x="57" y="157"/>
                      <a:pt x="38" y="152"/>
                      <a:pt x="22" y="142"/>
                    </a:cubicBezTo>
                    <a:cubicBezTo>
                      <a:pt x="18" y="139"/>
                      <a:pt x="18" y="139"/>
                      <a:pt x="18" y="139"/>
                    </a:cubicBezTo>
                    <a:cubicBezTo>
                      <a:pt x="15" y="143"/>
                      <a:pt x="15" y="143"/>
                      <a:pt x="15" y="143"/>
                    </a:cubicBezTo>
                    <a:cubicBezTo>
                      <a:pt x="2" y="166"/>
                      <a:pt x="2" y="166"/>
                      <a:pt x="2" y="166"/>
                    </a:cubicBezTo>
                    <a:cubicBezTo>
                      <a:pt x="0" y="170"/>
                      <a:pt x="0" y="170"/>
                      <a:pt x="0" y="170"/>
                    </a:cubicBezTo>
                    <a:cubicBezTo>
                      <a:pt x="4" y="172"/>
                      <a:pt x="4" y="172"/>
                      <a:pt x="4" y="172"/>
                    </a:cubicBezTo>
                    <a:cubicBezTo>
                      <a:pt x="18" y="181"/>
                      <a:pt x="42" y="192"/>
                      <a:pt x="77" y="192"/>
                    </a:cubicBezTo>
                    <a:cubicBezTo>
                      <a:pt x="128" y="192"/>
                      <a:pt x="161" y="169"/>
                      <a:pt x="161" y="132"/>
                    </a:cubicBezTo>
                    <a:cubicBezTo>
                      <a:pt x="161" y="88"/>
                      <a:pt x="122" y="82"/>
                      <a:pt x="90" y="7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1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D0C4B"/>
                  </a:solidFill>
                  <a:effectLst/>
                  <a:uLnTx/>
                  <a:uFillTx/>
                  <a:sym typeface="Arial"/>
                </a:endParaRPr>
              </a:p>
            </p:txBody>
          </p:sp>
          <p:sp>
            <p:nvSpPr>
              <p:cNvPr id="34" name="Freeform 14">
                <a:extLst>
                  <a:ext uri="{FF2B5EF4-FFF2-40B4-BE49-F238E27FC236}">
                    <a16:creationId xmlns:a16="http://schemas.microsoft.com/office/drawing/2014/main" id="{BC10D888-F3EC-4FA5-A8DB-EBC175A751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2427" y="437296"/>
                <a:ext cx="93943" cy="127448"/>
              </a:xfrm>
              <a:custGeom>
                <a:avLst/>
                <a:gdLst>
                  <a:gd name="T0" fmla="*/ 128 w 139"/>
                  <a:gd name="T1" fmla="*/ 103 h 188"/>
                  <a:gd name="T2" fmla="*/ 121 w 139"/>
                  <a:gd name="T3" fmla="*/ 110 h 188"/>
                  <a:gd name="T4" fmla="*/ 38 w 139"/>
                  <a:gd name="T5" fmla="*/ 110 h 188"/>
                  <a:gd name="T6" fmla="*/ 38 w 139"/>
                  <a:gd name="T7" fmla="*/ 153 h 188"/>
                  <a:gd name="T8" fmla="*/ 139 w 139"/>
                  <a:gd name="T9" fmla="*/ 153 h 188"/>
                  <a:gd name="T10" fmla="*/ 139 w 139"/>
                  <a:gd name="T11" fmla="*/ 188 h 188"/>
                  <a:gd name="T12" fmla="*/ 0 w 139"/>
                  <a:gd name="T13" fmla="*/ 188 h 188"/>
                  <a:gd name="T14" fmla="*/ 0 w 139"/>
                  <a:gd name="T15" fmla="*/ 18 h 188"/>
                  <a:gd name="T16" fmla="*/ 19 w 139"/>
                  <a:gd name="T17" fmla="*/ 0 h 188"/>
                  <a:gd name="T18" fmla="*/ 130 w 139"/>
                  <a:gd name="T19" fmla="*/ 0 h 188"/>
                  <a:gd name="T20" fmla="*/ 137 w 139"/>
                  <a:gd name="T21" fmla="*/ 6 h 188"/>
                  <a:gd name="T22" fmla="*/ 137 w 139"/>
                  <a:gd name="T23" fmla="*/ 27 h 188"/>
                  <a:gd name="T24" fmla="*/ 130 w 139"/>
                  <a:gd name="T25" fmla="*/ 34 h 188"/>
                  <a:gd name="T26" fmla="*/ 38 w 139"/>
                  <a:gd name="T27" fmla="*/ 34 h 188"/>
                  <a:gd name="T28" fmla="*/ 38 w 139"/>
                  <a:gd name="T29" fmla="*/ 75 h 188"/>
                  <a:gd name="T30" fmla="*/ 121 w 139"/>
                  <a:gd name="T31" fmla="*/ 75 h 188"/>
                  <a:gd name="T32" fmla="*/ 128 w 139"/>
                  <a:gd name="T33" fmla="*/ 82 h 188"/>
                  <a:gd name="T34" fmla="*/ 128 w 139"/>
                  <a:gd name="T35" fmla="*/ 103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9" h="188">
                    <a:moveTo>
                      <a:pt x="128" y="103"/>
                    </a:moveTo>
                    <a:cubicBezTo>
                      <a:pt x="128" y="107"/>
                      <a:pt x="124" y="110"/>
                      <a:pt x="121" y="110"/>
                    </a:cubicBezTo>
                    <a:cubicBezTo>
                      <a:pt x="38" y="110"/>
                      <a:pt x="38" y="110"/>
                      <a:pt x="38" y="110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139" y="153"/>
                      <a:pt x="139" y="153"/>
                      <a:pt x="139" y="153"/>
                    </a:cubicBezTo>
                    <a:cubicBezTo>
                      <a:pt x="139" y="188"/>
                      <a:pt x="139" y="188"/>
                      <a:pt x="139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9" y="0"/>
                      <a:pt x="19" y="0"/>
                    </a:cubicBezTo>
                    <a:cubicBezTo>
                      <a:pt x="130" y="0"/>
                      <a:pt x="130" y="0"/>
                      <a:pt x="130" y="0"/>
                    </a:cubicBezTo>
                    <a:cubicBezTo>
                      <a:pt x="134" y="0"/>
                      <a:pt x="137" y="2"/>
                      <a:pt x="137" y="6"/>
                    </a:cubicBezTo>
                    <a:cubicBezTo>
                      <a:pt x="137" y="27"/>
                      <a:pt x="137" y="27"/>
                      <a:pt x="137" y="27"/>
                    </a:cubicBezTo>
                    <a:cubicBezTo>
                      <a:pt x="137" y="32"/>
                      <a:pt x="134" y="34"/>
                      <a:pt x="130" y="34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121" y="75"/>
                      <a:pt x="121" y="75"/>
                      <a:pt x="121" y="75"/>
                    </a:cubicBezTo>
                    <a:cubicBezTo>
                      <a:pt x="124" y="75"/>
                      <a:pt x="128" y="77"/>
                      <a:pt x="128" y="82"/>
                    </a:cubicBezTo>
                    <a:lnTo>
                      <a:pt x="128" y="10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1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D0C4B"/>
                  </a:solidFill>
                  <a:effectLst/>
                  <a:uLnTx/>
                  <a:uFillTx/>
                  <a:sym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957856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Rectangle 64">
            <a:extLst>
              <a:ext uri="{FF2B5EF4-FFF2-40B4-BE49-F238E27FC236}">
                <a16:creationId xmlns:a16="http://schemas.microsoft.com/office/drawing/2014/main" id="{A1971C35-C534-4801-99A3-45FDE693FF0B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6" name="Frame 65">
            <a:extLst>
              <a:ext uri="{FF2B5EF4-FFF2-40B4-BE49-F238E27FC236}">
                <a16:creationId xmlns:a16="http://schemas.microsoft.com/office/drawing/2014/main" id="{96D1546A-7929-411A-9631-B042CF29D664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frame">
            <a:avLst>
              <a:gd name="adj1" fmla="val 194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43B89FE-8ACA-2C40-B10B-4DF55A2E93A3}"/>
              </a:ext>
            </a:extLst>
          </p:cNvPr>
          <p:cNvSpPr/>
          <p:nvPr/>
        </p:nvSpPr>
        <p:spPr>
          <a:xfrm>
            <a:off x="431540" y="4633931"/>
            <a:ext cx="1188889" cy="3079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AFFE4F0-FC3D-734A-B3A7-569BA1F9BFD6}"/>
              </a:ext>
            </a:extLst>
          </p:cNvPr>
          <p:cNvSpPr/>
          <p:nvPr/>
        </p:nvSpPr>
        <p:spPr>
          <a:xfrm>
            <a:off x="1923817" y="4633931"/>
            <a:ext cx="1188889" cy="3079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D2D0FDA-4CE0-764F-89F3-8CE4DB393955}"/>
              </a:ext>
            </a:extLst>
          </p:cNvPr>
          <p:cNvSpPr/>
          <p:nvPr/>
        </p:nvSpPr>
        <p:spPr>
          <a:xfrm>
            <a:off x="3347107" y="4633931"/>
            <a:ext cx="1188889" cy="3079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F7E9E30-1373-CE4F-B700-E25C18000512}"/>
              </a:ext>
            </a:extLst>
          </p:cNvPr>
          <p:cNvSpPr/>
          <p:nvPr/>
        </p:nvSpPr>
        <p:spPr>
          <a:xfrm>
            <a:off x="4796833" y="4633931"/>
            <a:ext cx="1188889" cy="3079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40BE2A9-7634-A341-AA67-94BA17956345}"/>
              </a:ext>
            </a:extLst>
          </p:cNvPr>
          <p:cNvSpPr/>
          <p:nvPr/>
        </p:nvSpPr>
        <p:spPr>
          <a:xfrm>
            <a:off x="6217933" y="4633931"/>
            <a:ext cx="1188889" cy="3079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A2ADC74-B129-3040-8A89-69096F0F7462}"/>
              </a:ext>
            </a:extLst>
          </p:cNvPr>
          <p:cNvSpPr/>
          <p:nvPr/>
        </p:nvSpPr>
        <p:spPr>
          <a:xfrm>
            <a:off x="7649078" y="4633931"/>
            <a:ext cx="1188889" cy="3079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6A7FC38-1599-954E-BDA8-D1DAB56E1826}"/>
              </a:ext>
            </a:extLst>
          </p:cNvPr>
          <p:cNvSpPr txBox="1"/>
          <p:nvPr/>
        </p:nvSpPr>
        <p:spPr>
          <a:xfrm>
            <a:off x="503926" y="4649400"/>
            <a:ext cx="10441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Gotham Book" panose="02000504050000020004" pitchFamily="2" charset="0"/>
              </a:rPr>
              <a:t>AGED 71+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83A38D0-533F-6846-BDCD-15E310225F9E}"/>
              </a:ext>
            </a:extLst>
          </p:cNvPr>
          <p:cNvSpPr txBox="1"/>
          <p:nvPr/>
        </p:nvSpPr>
        <p:spPr>
          <a:xfrm>
            <a:off x="1923817" y="4649400"/>
            <a:ext cx="11888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Gotham Book" panose="02000504050000020004" pitchFamily="2" charset="0"/>
              </a:rPr>
              <a:t>AGED 52-70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AFF898E-1080-034B-A040-02EB68D2A646}"/>
              </a:ext>
            </a:extLst>
          </p:cNvPr>
          <p:cNvSpPr txBox="1"/>
          <p:nvPr/>
        </p:nvSpPr>
        <p:spPr>
          <a:xfrm>
            <a:off x="3347106" y="4649400"/>
            <a:ext cx="11888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Gotham Book" panose="02000504050000020004" pitchFamily="2" charset="0"/>
              </a:rPr>
              <a:t>AGED 37-51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3C1A23E-A9A6-4B42-B518-57ACE85764E4}"/>
              </a:ext>
            </a:extLst>
          </p:cNvPr>
          <p:cNvSpPr txBox="1"/>
          <p:nvPr/>
        </p:nvSpPr>
        <p:spPr>
          <a:xfrm>
            <a:off x="4796832" y="4649400"/>
            <a:ext cx="11888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Gotham Book" panose="02000504050000020004" pitchFamily="2" charset="0"/>
              </a:rPr>
              <a:t>AGED 22-36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64BC991-EF5F-334F-8ED9-283CCCACC343}"/>
              </a:ext>
            </a:extLst>
          </p:cNvPr>
          <p:cNvSpPr txBox="1"/>
          <p:nvPr/>
        </p:nvSpPr>
        <p:spPr>
          <a:xfrm>
            <a:off x="6217932" y="4649400"/>
            <a:ext cx="11888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Gotham Book" panose="02000504050000020004" pitchFamily="2" charset="0"/>
              </a:rPr>
              <a:t>AGED 7-21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FFDABCE-CDA2-594F-961D-F0D1D5DB0AD9}"/>
              </a:ext>
            </a:extLst>
          </p:cNvPr>
          <p:cNvSpPr txBox="1"/>
          <p:nvPr/>
        </p:nvSpPr>
        <p:spPr>
          <a:xfrm>
            <a:off x="7649077" y="4649400"/>
            <a:ext cx="11888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latin typeface="Gotham Book" panose="02000504050000020004" pitchFamily="2" charset="0"/>
              </a:rPr>
              <a:t>AGED &gt;7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A1353ED-2943-7A4C-A12F-3588B4B4B0D1}"/>
              </a:ext>
            </a:extLst>
          </p:cNvPr>
          <p:cNvGrpSpPr/>
          <p:nvPr/>
        </p:nvGrpSpPr>
        <p:grpSpPr>
          <a:xfrm>
            <a:off x="438577" y="4227934"/>
            <a:ext cx="8399384" cy="420693"/>
            <a:chOff x="438577" y="4227934"/>
            <a:chExt cx="8399384" cy="420693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60340E82-1402-B141-8998-3ACB129F6686}"/>
                </a:ext>
              </a:extLst>
            </p:cNvPr>
            <p:cNvSpPr/>
            <p:nvPr/>
          </p:nvSpPr>
          <p:spPr>
            <a:xfrm>
              <a:off x="1917883" y="4229527"/>
              <a:ext cx="1188887" cy="4191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>
                  <a:solidFill>
                    <a:schemeClr val="bg1"/>
                  </a:solidFill>
                  <a:latin typeface="Gotham Book" panose="02000604040000020004" pitchFamily="50" charset="0"/>
                </a:rPr>
                <a:t>GRANDPARENTS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17C64FEE-0BCB-C343-86FB-3B024A104DA0}"/>
                </a:ext>
              </a:extLst>
            </p:cNvPr>
            <p:cNvSpPr/>
            <p:nvPr/>
          </p:nvSpPr>
          <p:spPr>
            <a:xfrm>
              <a:off x="3347106" y="4229527"/>
              <a:ext cx="1188886" cy="4191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>
                  <a:solidFill>
                    <a:schemeClr val="bg1"/>
                  </a:solidFill>
                  <a:latin typeface="Gotham Book" panose="02000604040000020004" pitchFamily="50" charset="0"/>
                </a:rPr>
                <a:t>PARENTS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191EC698-14D2-9241-BAF0-3B0A6B49C285}"/>
                </a:ext>
              </a:extLst>
            </p:cNvPr>
            <p:cNvSpPr/>
            <p:nvPr/>
          </p:nvSpPr>
          <p:spPr>
            <a:xfrm>
              <a:off x="4796831" y="4229527"/>
              <a:ext cx="1188885" cy="4191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>
                  <a:solidFill>
                    <a:schemeClr val="bg1"/>
                  </a:solidFill>
                  <a:latin typeface="Gotham Book" panose="02000604040000020004" pitchFamily="50" charset="0"/>
                </a:rPr>
                <a:t>OLDER SIBLINGS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4A40AB8F-9ECA-A045-9609-DF97D58056C3}"/>
                </a:ext>
              </a:extLst>
            </p:cNvPr>
            <p:cNvSpPr/>
            <p:nvPr/>
          </p:nvSpPr>
          <p:spPr>
            <a:xfrm>
              <a:off x="7649077" y="4227934"/>
              <a:ext cx="1188884" cy="4191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>
                  <a:solidFill>
                    <a:schemeClr val="bg1"/>
                  </a:solidFill>
                  <a:latin typeface="Gotham Book" panose="02000604040000020004" pitchFamily="50" charset="0"/>
                </a:rPr>
                <a:t>YOUNGER SIBLINGS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9CA23491-4E3D-B34E-BF1A-4327A37FD0F6}"/>
                </a:ext>
              </a:extLst>
            </p:cNvPr>
            <p:cNvSpPr/>
            <p:nvPr/>
          </p:nvSpPr>
          <p:spPr>
            <a:xfrm>
              <a:off x="438577" y="4229527"/>
              <a:ext cx="1188888" cy="4191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900" dirty="0">
                  <a:solidFill>
                    <a:schemeClr val="bg1"/>
                  </a:solidFill>
                  <a:latin typeface="Gotham Book" panose="02000604040000020004" pitchFamily="50" charset="0"/>
                </a:rPr>
                <a:t>GREAT-GRANDPARENTS</a:t>
              </a:r>
            </a:p>
          </p:txBody>
        </p:sp>
      </p:grpSp>
      <p:pic>
        <p:nvPicPr>
          <p:cNvPr id="36" name="Picture 35">
            <a:extLst>
              <a:ext uri="{FF2B5EF4-FFF2-40B4-BE49-F238E27FC236}">
                <a16:creationId xmlns:a16="http://schemas.microsoft.com/office/drawing/2014/main" id="{B81D5D0A-8E6E-3E4D-92FF-C99E34981B8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68636" y="1594102"/>
            <a:ext cx="1006371" cy="2730328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95C44495-09DF-B343-A5C6-EBA7A73457E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3868" y="288368"/>
            <a:ext cx="1066731" cy="3996000"/>
          </a:xfrm>
          <a:prstGeom prst="rect">
            <a:avLst/>
          </a:prstGeom>
        </p:spPr>
      </p:pic>
      <p:pic>
        <p:nvPicPr>
          <p:cNvPr id="39" name="Picture 38" descr="A picture containing object&#10;&#10;Description automatically generated">
            <a:extLst>
              <a:ext uri="{FF2B5EF4-FFF2-40B4-BE49-F238E27FC236}">
                <a16:creationId xmlns:a16="http://schemas.microsoft.com/office/drawing/2014/main" id="{44C43407-7625-9642-9603-DAA3843BB14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84632" y="339502"/>
            <a:ext cx="1039196" cy="3924000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0D22FD79-5EFF-F541-B52D-B64B9260DBD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996" y="431463"/>
            <a:ext cx="1278688" cy="3862340"/>
          </a:xfrm>
          <a:prstGeom prst="rect">
            <a:avLst/>
          </a:prstGeom>
        </p:spPr>
      </p:pic>
      <p:pic>
        <p:nvPicPr>
          <p:cNvPr id="41" name="Picture 40" descr="A close up of a logo&#10;&#10;Description automatically generated">
            <a:extLst>
              <a:ext uri="{FF2B5EF4-FFF2-40B4-BE49-F238E27FC236}">
                <a16:creationId xmlns:a16="http://schemas.microsoft.com/office/drawing/2014/main" id="{4E495C5E-98D5-F647-97FF-9EBCEEE972B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39863" y="3121752"/>
            <a:ext cx="1686026" cy="933196"/>
          </a:xfrm>
          <a:prstGeom prst="rect">
            <a:avLst/>
          </a:prstGeom>
        </p:spPr>
      </p:pic>
      <p:pic>
        <p:nvPicPr>
          <p:cNvPr id="42" name="Picture 41" descr="A close up of a logo&#10;&#10;Description automatically generated">
            <a:extLst>
              <a:ext uri="{FF2B5EF4-FFF2-40B4-BE49-F238E27FC236}">
                <a16:creationId xmlns:a16="http://schemas.microsoft.com/office/drawing/2014/main" id="{B37ABA97-7E7A-9F4E-BEF9-20CE74CE4F4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27232" y="3145555"/>
            <a:ext cx="1686026" cy="933196"/>
          </a:xfrm>
          <a:prstGeom prst="rect">
            <a:avLst/>
          </a:prstGeom>
        </p:spPr>
      </p:pic>
      <p:pic>
        <p:nvPicPr>
          <p:cNvPr id="44" name="Picture 43" descr="A close up of a logo&#10;&#10;Description automatically generated">
            <a:extLst>
              <a:ext uri="{FF2B5EF4-FFF2-40B4-BE49-F238E27FC236}">
                <a16:creationId xmlns:a16="http://schemas.microsoft.com/office/drawing/2014/main" id="{AEA56D1E-B56D-944C-BEE5-2D0FCD19FB7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52413" y="3150722"/>
            <a:ext cx="1686026" cy="933196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5D07458D-5E8F-EA49-8E38-40FB37F7ACC5}"/>
              </a:ext>
            </a:extLst>
          </p:cNvPr>
          <p:cNvSpPr txBox="1"/>
          <p:nvPr/>
        </p:nvSpPr>
        <p:spPr>
          <a:xfrm rot="20216292">
            <a:off x="1537010" y="3479106"/>
            <a:ext cx="172760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i="1" dirty="0">
                <a:solidFill>
                  <a:srgbClr val="FFC000"/>
                </a:solidFill>
                <a:latin typeface="Gotham Bold Italic" panose="02000504050000020004" pitchFamily="2" charset="0"/>
              </a:rPr>
              <a:t>BABY BOOMERS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C4F98CEA-7266-6240-838E-0E44FD5298E5}"/>
              </a:ext>
            </a:extLst>
          </p:cNvPr>
          <p:cNvSpPr txBox="1"/>
          <p:nvPr/>
        </p:nvSpPr>
        <p:spPr>
          <a:xfrm rot="20216292">
            <a:off x="2957847" y="3482526"/>
            <a:ext cx="172760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1050" b="1" i="1" dirty="0">
                <a:solidFill>
                  <a:srgbClr val="FFC000"/>
                </a:solidFill>
                <a:latin typeface="Gotham Bold Italic" panose="02000504050000020004" pitchFamily="2" charset="0"/>
              </a:rPr>
              <a:t>GENERATION X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57CFACA-0236-E040-B0BA-43F6698CF448}"/>
              </a:ext>
            </a:extLst>
          </p:cNvPr>
          <p:cNvSpPr txBox="1"/>
          <p:nvPr/>
        </p:nvSpPr>
        <p:spPr>
          <a:xfrm rot="20250267">
            <a:off x="7256621" y="3499556"/>
            <a:ext cx="172760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i="1" dirty="0">
                <a:solidFill>
                  <a:srgbClr val="FFC000"/>
                </a:solidFill>
                <a:latin typeface="Gotham Bold Italic" panose="02000504050000020004" pitchFamily="2" charset="0"/>
              </a:rPr>
              <a:t>GENERATION ALPHA</a:t>
            </a:r>
          </a:p>
        </p:txBody>
      </p:sp>
      <p:pic>
        <p:nvPicPr>
          <p:cNvPr id="49" name="Picture 48" descr="A close up of a logo&#10;&#10;Description automatically generated">
            <a:extLst>
              <a:ext uri="{FF2B5EF4-FFF2-40B4-BE49-F238E27FC236}">
                <a16:creationId xmlns:a16="http://schemas.microsoft.com/office/drawing/2014/main" id="{23925D09-3BD0-A640-9A6F-0CD287D52B0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9065" y="3267512"/>
            <a:ext cx="1686026" cy="933196"/>
          </a:xfrm>
          <a:prstGeom prst="rect">
            <a:avLst/>
          </a:prstGeom>
        </p:spPr>
      </p:pic>
      <p:sp>
        <p:nvSpPr>
          <p:cNvPr id="51" name="Freeform 50">
            <a:extLst>
              <a:ext uri="{FF2B5EF4-FFF2-40B4-BE49-F238E27FC236}">
                <a16:creationId xmlns:a16="http://schemas.microsoft.com/office/drawing/2014/main" id="{61C85DB7-29E8-BA41-B4D4-BD55935F8FCD}"/>
              </a:ext>
            </a:extLst>
          </p:cNvPr>
          <p:cNvSpPr/>
          <p:nvPr/>
        </p:nvSpPr>
        <p:spPr>
          <a:xfrm>
            <a:off x="1330362" y="3281082"/>
            <a:ext cx="502024" cy="200810"/>
          </a:xfrm>
          <a:custGeom>
            <a:avLst/>
            <a:gdLst>
              <a:gd name="connsiteX0" fmla="*/ 3586 w 502024"/>
              <a:gd name="connsiteY0" fmla="*/ 89647 h 200810"/>
              <a:gd name="connsiteX1" fmla="*/ 0 w 502024"/>
              <a:gd name="connsiteY1" fmla="*/ 200810 h 200810"/>
              <a:gd name="connsiteX2" fmla="*/ 502024 w 502024"/>
              <a:gd name="connsiteY2" fmla="*/ 0 h 200810"/>
              <a:gd name="connsiteX3" fmla="*/ 3586 w 502024"/>
              <a:gd name="connsiteY3" fmla="*/ 89647 h 200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2024" h="200810">
                <a:moveTo>
                  <a:pt x="3586" y="89647"/>
                </a:moveTo>
                <a:lnTo>
                  <a:pt x="0" y="200810"/>
                </a:lnTo>
                <a:lnTo>
                  <a:pt x="502024" y="0"/>
                </a:lnTo>
                <a:lnTo>
                  <a:pt x="3586" y="8964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Freeform 51">
            <a:extLst>
              <a:ext uri="{FF2B5EF4-FFF2-40B4-BE49-F238E27FC236}">
                <a16:creationId xmlns:a16="http://schemas.microsoft.com/office/drawing/2014/main" id="{E7665B26-942C-A24E-A45F-8A777937F80B}"/>
              </a:ext>
            </a:extLst>
          </p:cNvPr>
          <p:cNvSpPr/>
          <p:nvPr/>
        </p:nvSpPr>
        <p:spPr>
          <a:xfrm>
            <a:off x="333487" y="3991087"/>
            <a:ext cx="484094" cy="207981"/>
          </a:xfrm>
          <a:custGeom>
            <a:avLst/>
            <a:gdLst>
              <a:gd name="connsiteX0" fmla="*/ 484094 w 484094"/>
              <a:gd name="connsiteY0" fmla="*/ 0 h 207981"/>
              <a:gd name="connsiteX1" fmla="*/ 480508 w 484094"/>
              <a:gd name="connsiteY1" fmla="*/ 125506 h 207981"/>
              <a:gd name="connsiteX2" fmla="*/ 0 w 484094"/>
              <a:gd name="connsiteY2" fmla="*/ 207981 h 207981"/>
              <a:gd name="connsiteX3" fmla="*/ 484094 w 484094"/>
              <a:gd name="connsiteY3" fmla="*/ 0 h 2079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4094" h="207981">
                <a:moveTo>
                  <a:pt x="484094" y="0"/>
                </a:moveTo>
                <a:lnTo>
                  <a:pt x="480508" y="125506"/>
                </a:lnTo>
                <a:lnTo>
                  <a:pt x="0" y="207981"/>
                </a:lnTo>
                <a:lnTo>
                  <a:pt x="484094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Freeform 52">
            <a:extLst>
              <a:ext uri="{FF2B5EF4-FFF2-40B4-BE49-F238E27FC236}">
                <a16:creationId xmlns:a16="http://schemas.microsoft.com/office/drawing/2014/main" id="{77BB0244-232C-CE43-A7A1-599B06FD7964}"/>
              </a:ext>
            </a:extLst>
          </p:cNvPr>
          <p:cNvSpPr/>
          <p:nvPr/>
        </p:nvSpPr>
        <p:spPr>
          <a:xfrm>
            <a:off x="1691681" y="3821393"/>
            <a:ext cx="569634" cy="238721"/>
          </a:xfrm>
          <a:custGeom>
            <a:avLst/>
            <a:gdLst>
              <a:gd name="connsiteX0" fmla="*/ 484094 w 484094"/>
              <a:gd name="connsiteY0" fmla="*/ 0 h 207981"/>
              <a:gd name="connsiteX1" fmla="*/ 480508 w 484094"/>
              <a:gd name="connsiteY1" fmla="*/ 125506 h 207981"/>
              <a:gd name="connsiteX2" fmla="*/ 0 w 484094"/>
              <a:gd name="connsiteY2" fmla="*/ 207981 h 207981"/>
              <a:gd name="connsiteX3" fmla="*/ 484094 w 484094"/>
              <a:gd name="connsiteY3" fmla="*/ 0 h 2079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4094" h="207981">
                <a:moveTo>
                  <a:pt x="484094" y="0"/>
                </a:moveTo>
                <a:lnTo>
                  <a:pt x="480508" y="125506"/>
                </a:lnTo>
                <a:lnTo>
                  <a:pt x="0" y="207981"/>
                </a:lnTo>
                <a:lnTo>
                  <a:pt x="484094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Freeform 53">
            <a:extLst>
              <a:ext uri="{FF2B5EF4-FFF2-40B4-BE49-F238E27FC236}">
                <a16:creationId xmlns:a16="http://schemas.microsoft.com/office/drawing/2014/main" id="{6F59B6F3-4B38-DD48-84F2-CCB15790911F}"/>
              </a:ext>
            </a:extLst>
          </p:cNvPr>
          <p:cNvSpPr/>
          <p:nvPr/>
        </p:nvSpPr>
        <p:spPr>
          <a:xfrm>
            <a:off x="2742857" y="3124187"/>
            <a:ext cx="502024" cy="200810"/>
          </a:xfrm>
          <a:custGeom>
            <a:avLst/>
            <a:gdLst>
              <a:gd name="connsiteX0" fmla="*/ 3586 w 502024"/>
              <a:gd name="connsiteY0" fmla="*/ 89647 h 200810"/>
              <a:gd name="connsiteX1" fmla="*/ 0 w 502024"/>
              <a:gd name="connsiteY1" fmla="*/ 200810 h 200810"/>
              <a:gd name="connsiteX2" fmla="*/ 502024 w 502024"/>
              <a:gd name="connsiteY2" fmla="*/ 0 h 200810"/>
              <a:gd name="connsiteX3" fmla="*/ 3586 w 502024"/>
              <a:gd name="connsiteY3" fmla="*/ 89647 h 200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2024" h="200810">
                <a:moveTo>
                  <a:pt x="3586" y="89647"/>
                </a:moveTo>
                <a:lnTo>
                  <a:pt x="0" y="200810"/>
                </a:lnTo>
                <a:lnTo>
                  <a:pt x="502024" y="0"/>
                </a:lnTo>
                <a:lnTo>
                  <a:pt x="3586" y="8964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Freeform 54">
            <a:extLst>
              <a:ext uri="{FF2B5EF4-FFF2-40B4-BE49-F238E27FC236}">
                <a16:creationId xmlns:a16="http://schemas.microsoft.com/office/drawing/2014/main" id="{ED6FB81D-E5D1-FD41-A004-1D16A9CEA8F7}"/>
              </a:ext>
            </a:extLst>
          </p:cNvPr>
          <p:cNvSpPr/>
          <p:nvPr/>
        </p:nvSpPr>
        <p:spPr>
          <a:xfrm>
            <a:off x="3093815" y="3837665"/>
            <a:ext cx="569634" cy="238721"/>
          </a:xfrm>
          <a:custGeom>
            <a:avLst/>
            <a:gdLst>
              <a:gd name="connsiteX0" fmla="*/ 484094 w 484094"/>
              <a:gd name="connsiteY0" fmla="*/ 0 h 207981"/>
              <a:gd name="connsiteX1" fmla="*/ 480508 w 484094"/>
              <a:gd name="connsiteY1" fmla="*/ 125506 h 207981"/>
              <a:gd name="connsiteX2" fmla="*/ 0 w 484094"/>
              <a:gd name="connsiteY2" fmla="*/ 207981 h 207981"/>
              <a:gd name="connsiteX3" fmla="*/ 484094 w 484094"/>
              <a:gd name="connsiteY3" fmla="*/ 0 h 2079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4094" h="207981">
                <a:moveTo>
                  <a:pt x="484094" y="0"/>
                </a:moveTo>
                <a:lnTo>
                  <a:pt x="480508" y="125506"/>
                </a:lnTo>
                <a:lnTo>
                  <a:pt x="0" y="207981"/>
                </a:lnTo>
                <a:lnTo>
                  <a:pt x="484094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Freeform 55">
            <a:extLst>
              <a:ext uri="{FF2B5EF4-FFF2-40B4-BE49-F238E27FC236}">
                <a16:creationId xmlns:a16="http://schemas.microsoft.com/office/drawing/2014/main" id="{1598B4C1-0A4C-814A-8504-4025D83EB885}"/>
              </a:ext>
            </a:extLst>
          </p:cNvPr>
          <p:cNvSpPr/>
          <p:nvPr/>
        </p:nvSpPr>
        <p:spPr>
          <a:xfrm>
            <a:off x="4144991" y="3140459"/>
            <a:ext cx="452382" cy="200810"/>
          </a:xfrm>
          <a:custGeom>
            <a:avLst/>
            <a:gdLst>
              <a:gd name="connsiteX0" fmla="*/ 3586 w 502024"/>
              <a:gd name="connsiteY0" fmla="*/ 89647 h 200810"/>
              <a:gd name="connsiteX1" fmla="*/ 0 w 502024"/>
              <a:gd name="connsiteY1" fmla="*/ 200810 h 200810"/>
              <a:gd name="connsiteX2" fmla="*/ 502024 w 502024"/>
              <a:gd name="connsiteY2" fmla="*/ 0 h 200810"/>
              <a:gd name="connsiteX3" fmla="*/ 3586 w 502024"/>
              <a:gd name="connsiteY3" fmla="*/ 89647 h 200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2024" h="200810">
                <a:moveTo>
                  <a:pt x="3586" y="89647"/>
                </a:moveTo>
                <a:lnTo>
                  <a:pt x="0" y="200810"/>
                </a:lnTo>
                <a:lnTo>
                  <a:pt x="502024" y="0"/>
                </a:lnTo>
                <a:lnTo>
                  <a:pt x="3586" y="8964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AE91B6B-96A9-4113-A503-F3BF4773A648}"/>
              </a:ext>
            </a:extLst>
          </p:cNvPr>
          <p:cNvGrpSpPr/>
          <p:nvPr/>
        </p:nvGrpSpPr>
        <p:grpSpPr>
          <a:xfrm>
            <a:off x="4388978" y="539463"/>
            <a:ext cx="1753358" cy="3744000"/>
            <a:chOff x="4388978" y="539463"/>
            <a:chExt cx="1753358" cy="3744000"/>
          </a:xfrm>
        </p:grpSpPr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19B80C5B-99AB-2841-B258-CEF5AA802A7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860032" y="539463"/>
              <a:ext cx="874691" cy="3744000"/>
            </a:xfrm>
            <a:prstGeom prst="rect">
              <a:avLst/>
            </a:prstGeom>
          </p:spPr>
        </p:pic>
        <p:pic>
          <p:nvPicPr>
            <p:cNvPr id="43" name="Picture 42" descr="A close up of a logo&#10;&#10;Description automatically generated">
              <a:extLst>
                <a:ext uri="{FF2B5EF4-FFF2-40B4-BE49-F238E27FC236}">
                  <a16:creationId xmlns:a16="http://schemas.microsoft.com/office/drawing/2014/main" id="{E8B1D259-7172-2941-B811-4BC7CF44454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56310" y="3145555"/>
              <a:ext cx="1686026" cy="933196"/>
            </a:xfrm>
            <a:prstGeom prst="rect">
              <a:avLst/>
            </a:prstGeom>
          </p:spPr>
        </p:pic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0C929BFB-BF26-E64B-BCE8-E7DB89766C54}"/>
                </a:ext>
              </a:extLst>
            </p:cNvPr>
            <p:cNvSpPr txBox="1"/>
            <p:nvPr/>
          </p:nvSpPr>
          <p:spPr>
            <a:xfrm rot="20216292">
              <a:off x="4388978" y="3482527"/>
              <a:ext cx="1727603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/>
              <a:r>
                <a:rPr lang="en-US" sz="1050" b="1" i="1" dirty="0">
                  <a:solidFill>
                    <a:srgbClr val="FFC000"/>
                  </a:solidFill>
                  <a:latin typeface="Gotham Bold Italic" panose="02000504050000020004" pitchFamily="2" charset="0"/>
                </a:rPr>
                <a:t>GENERATION Y</a:t>
              </a:r>
            </a:p>
          </p:txBody>
        </p:sp>
        <p:sp>
          <p:nvSpPr>
            <p:cNvPr id="57" name="Freeform 56">
              <a:extLst>
                <a:ext uri="{FF2B5EF4-FFF2-40B4-BE49-F238E27FC236}">
                  <a16:creationId xmlns:a16="http://schemas.microsoft.com/office/drawing/2014/main" id="{3674173E-F49E-AF4D-8368-CEA45D667CBC}"/>
                </a:ext>
              </a:extLst>
            </p:cNvPr>
            <p:cNvSpPr/>
            <p:nvPr/>
          </p:nvSpPr>
          <p:spPr>
            <a:xfrm>
              <a:off x="4504442" y="3782567"/>
              <a:ext cx="765750" cy="307938"/>
            </a:xfrm>
            <a:custGeom>
              <a:avLst/>
              <a:gdLst>
                <a:gd name="connsiteX0" fmla="*/ 484094 w 484094"/>
                <a:gd name="connsiteY0" fmla="*/ 0 h 207981"/>
                <a:gd name="connsiteX1" fmla="*/ 480508 w 484094"/>
                <a:gd name="connsiteY1" fmla="*/ 125506 h 207981"/>
                <a:gd name="connsiteX2" fmla="*/ 0 w 484094"/>
                <a:gd name="connsiteY2" fmla="*/ 207981 h 207981"/>
                <a:gd name="connsiteX3" fmla="*/ 484094 w 484094"/>
                <a:gd name="connsiteY3" fmla="*/ 0 h 207981"/>
                <a:gd name="connsiteX0" fmla="*/ 484094 w 514150"/>
                <a:gd name="connsiteY0" fmla="*/ 0 h 207981"/>
                <a:gd name="connsiteX1" fmla="*/ 514150 w 514150"/>
                <a:gd name="connsiteY1" fmla="*/ 129736 h 207981"/>
                <a:gd name="connsiteX2" fmla="*/ 0 w 514150"/>
                <a:gd name="connsiteY2" fmla="*/ 207981 h 207981"/>
                <a:gd name="connsiteX3" fmla="*/ 484094 w 514150"/>
                <a:gd name="connsiteY3" fmla="*/ 0 h 207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4150" h="207981">
                  <a:moveTo>
                    <a:pt x="484094" y="0"/>
                  </a:moveTo>
                  <a:lnTo>
                    <a:pt x="514150" y="129736"/>
                  </a:lnTo>
                  <a:lnTo>
                    <a:pt x="0" y="207981"/>
                  </a:lnTo>
                  <a:lnTo>
                    <a:pt x="48409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Freeform 57">
              <a:extLst>
                <a:ext uri="{FF2B5EF4-FFF2-40B4-BE49-F238E27FC236}">
                  <a16:creationId xmlns:a16="http://schemas.microsoft.com/office/drawing/2014/main" id="{A96E3D48-F08A-C142-904F-114ED0262405}"/>
                </a:ext>
              </a:extLst>
            </p:cNvPr>
            <p:cNvSpPr/>
            <p:nvPr/>
          </p:nvSpPr>
          <p:spPr>
            <a:xfrm>
              <a:off x="5556706" y="3148346"/>
              <a:ext cx="491458" cy="200810"/>
            </a:xfrm>
            <a:custGeom>
              <a:avLst/>
              <a:gdLst>
                <a:gd name="connsiteX0" fmla="*/ 3586 w 502024"/>
                <a:gd name="connsiteY0" fmla="*/ 89647 h 200810"/>
                <a:gd name="connsiteX1" fmla="*/ 0 w 502024"/>
                <a:gd name="connsiteY1" fmla="*/ 200810 h 200810"/>
                <a:gd name="connsiteX2" fmla="*/ 502024 w 502024"/>
                <a:gd name="connsiteY2" fmla="*/ 0 h 200810"/>
                <a:gd name="connsiteX3" fmla="*/ 3586 w 502024"/>
                <a:gd name="connsiteY3" fmla="*/ 89647 h 200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2024" h="200810">
                  <a:moveTo>
                    <a:pt x="3586" y="89647"/>
                  </a:moveTo>
                  <a:lnTo>
                    <a:pt x="0" y="200810"/>
                  </a:lnTo>
                  <a:lnTo>
                    <a:pt x="502024" y="0"/>
                  </a:lnTo>
                  <a:lnTo>
                    <a:pt x="3586" y="8964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3" name="Freeform 62">
            <a:extLst>
              <a:ext uri="{FF2B5EF4-FFF2-40B4-BE49-F238E27FC236}">
                <a16:creationId xmlns:a16="http://schemas.microsoft.com/office/drawing/2014/main" id="{9E9FC7CC-6F6F-D742-AD61-6005D17D61A7}"/>
              </a:ext>
            </a:extLst>
          </p:cNvPr>
          <p:cNvSpPr/>
          <p:nvPr/>
        </p:nvSpPr>
        <p:spPr>
          <a:xfrm>
            <a:off x="8624336" y="3140459"/>
            <a:ext cx="340444" cy="150536"/>
          </a:xfrm>
          <a:custGeom>
            <a:avLst/>
            <a:gdLst>
              <a:gd name="connsiteX0" fmla="*/ 3586 w 502024"/>
              <a:gd name="connsiteY0" fmla="*/ 89647 h 200810"/>
              <a:gd name="connsiteX1" fmla="*/ 0 w 502024"/>
              <a:gd name="connsiteY1" fmla="*/ 200810 h 200810"/>
              <a:gd name="connsiteX2" fmla="*/ 502024 w 502024"/>
              <a:gd name="connsiteY2" fmla="*/ 0 h 200810"/>
              <a:gd name="connsiteX3" fmla="*/ 3586 w 502024"/>
              <a:gd name="connsiteY3" fmla="*/ 89647 h 200810"/>
              <a:gd name="connsiteX0" fmla="*/ 49764 w 502024"/>
              <a:gd name="connsiteY0" fmla="*/ 31164 h 200810"/>
              <a:gd name="connsiteX1" fmla="*/ 0 w 502024"/>
              <a:gd name="connsiteY1" fmla="*/ 200810 h 200810"/>
              <a:gd name="connsiteX2" fmla="*/ 502024 w 502024"/>
              <a:gd name="connsiteY2" fmla="*/ 0 h 200810"/>
              <a:gd name="connsiteX3" fmla="*/ 49764 w 502024"/>
              <a:gd name="connsiteY3" fmla="*/ 31164 h 200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2024" h="200810">
                <a:moveTo>
                  <a:pt x="49764" y="31164"/>
                </a:moveTo>
                <a:lnTo>
                  <a:pt x="0" y="200810"/>
                </a:lnTo>
                <a:lnTo>
                  <a:pt x="502024" y="0"/>
                </a:lnTo>
                <a:lnTo>
                  <a:pt x="49764" y="3116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Freeform 63">
            <a:extLst>
              <a:ext uri="{FF2B5EF4-FFF2-40B4-BE49-F238E27FC236}">
                <a16:creationId xmlns:a16="http://schemas.microsoft.com/office/drawing/2014/main" id="{A5289055-75EE-524E-A31A-DC0642D40E2B}"/>
              </a:ext>
            </a:extLst>
          </p:cNvPr>
          <p:cNvSpPr/>
          <p:nvPr/>
        </p:nvSpPr>
        <p:spPr>
          <a:xfrm>
            <a:off x="7424127" y="3875211"/>
            <a:ext cx="484094" cy="207981"/>
          </a:xfrm>
          <a:custGeom>
            <a:avLst/>
            <a:gdLst>
              <a:gd name="connsiteX0" fmla="*/ 484094 w 484094"/>
              <a:gd name="connsiteY0" fmla="*/ 0 h 207981"/>
              <a:gd name="connsiteX1" fmla="*/ 480508 w 484094"/>
              <a:gd name="connsiteY1" fmla="*/ 125506 h 207981"/>
              <a:gd name="connsiteX2" fmla="*/ 0 w 484094"/>
              <a:gd name="connsiteY2" fmla="*/ 207981 h 207981"/>
              <a:gd name="connsiteX3" fmla="*/ 484094 w 484094"/>
              <a:gd name="connsiteY3" fmla="*/ 0 h 2079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4094" h="207981">
                <a:moveTo>
                  <a:pt x="484094" y="0"/>
                </a:moveTo>
                <a:lnTo>
                  <a:pt x="480508" y="125506"/>
                </a:lnTo>
                <a:lnTo>
                  <a:pt x="0" y="207981"/>
                </a:lnTo>
                <a:lnTo>
                  <a:pt x="484094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C6D0FA89-3092-4F87-9B28-975F931B0403}"/>
              </a:ext>
            </a:extLst>
          </p:cNvPr>
          <p:cNvSpPr txBox="1"/>
          <p:nvPr/>
        </p:nvSpPr>
        <p:spPr>
          <a:xfrm rot="20216292">
            <a:off x="242775" y="3613452"/>
            <a:ext cx="17276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i="1" dirty="0">
                <a:solidFill>
                  <a:srgbClr val="FFC000"/>
                </a:solidFill>
                <a:latin typeface="Gotham Bold Italic" panose="02000504050000020004" pitchFamily="2" charset="0"/>
              </a:rPr>
              <a:t>GREATEST GENERATION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D6E3A57-F5DC-4A0A-BCAF-1D73CF34ACC3}"/>
              </a:ext>
            </a:extLst>
          </p:cNvPr>
          <p:cNvGrpSpPr/>
          <p:nvPr/>
        </p:nvGrpSpPr>
        <p:grpSpPr>
          <a:xfrm>
            <a:off x="5848844" y="801803"/>
            <a:ext cx="1727603" cy="3492000"/>
            <a:chOff x="5848844" y="801803"/>
            <a:chExt cx="1727603" cy="3492000"/>
          </a:xfrm>
        </p:grpSpPr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A5030DA8-53EE-B648-9F59-957D9587C58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32293" y="801803"/>
              <a:ext cx="1082028" cy="3492000"/>
            </a:xfrm>
            <a:prstGeom prst="rect">
              <a:avLst/>
            </a:prstGeom>
          </p:spPr>
        </p:pic>
        <p:sp>
          <p:nvSpPr>
            <p:cNvPr id="59" name="Freeform 58">
              <a:extLst>
                <a:ext uri="{FF2B5EF4-FFF2-40B4-BE49-F238E27FC236}">
                  <a16:creationId xmlns:a16="http://schemas.microsoft.com/office/drawing/2014/main" id="{299DB550-77BF-EF4E-B667-8104D392BE6F}"/>
                </a:ext>
              </a:extLst>
            </p:cNvPr>
            <p:cNvSpPr/>
            <p:nvPr/>
          </p:nvSpPr>
          <p:spPr>
            <a:xfrm>
              <a:off x="5926342" y="3789011"/>
              <a:ext cx="720986" cy="307938"/>
            </a:xfrm>
            <a:custGeom>
              <a:avLst/>
              <a:gdLst>
                <a:gd name="connsiteX0" fmla="*/ 484094 w 484094"/>
                <a:gd name="connsiteY0" fmla="*/ 0 h 207981"/>
                <a:gd name="connsiteX1" fmla="*/ 480508 w 484094"/>
                <a:gd name="connsiteY1" fmla="*/ 125506 h 207981"/>
                <a:gd name="connsiteX2" fmla="*/ 0 w 484094"/>
                <a:gd name="connsiteY2" fmla="*/ 207981 h 207981"/>
                <a:gd name="connsiteX3" fmla="*/ 484094 w 484094"/>
                <a:gd name="connsiteY3" fmla="*/ 0 h 207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4094" h="207981">
                  <a:moveTo>
                    <a:pt x="484094" y="0"/>
                  </a:moveTo>
                  <a:lnTo>
                    <a:pt x="480508" y="125506"/>
                  </a:lnTo>
                  <a:lnTo>
                    <a:pt x="0" y="207981"/>
                  </a:lnTo>
                  <a:lnTo>
                    <a:pt x="48409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Freeform 59">
              <a:extLst>
                <a:ext uri="{FF2B5EF4-FFF2-40B4-BE49-F238E27FC236}">
                  <a16:creationId xmlns:a16="http://schemas.microsoft.com/office/drawing/2014/main" id="{11088E7F-4A17-1C44-A7D5-018BFDBB7F7E}"/>
                </a:ext>
              </a:extLst>
            </p:cNvPr>
            <p:cNvSpPr/>
            <p:nvPr/>
          </p:nvSpPr>
          <p:spPr>
            <a:xfrm>
              <a:off x="6912260" y="3130085"/>
              <a:ext cx="570336" cy="269757"/>
            </a:xfrm>
            <a:custGeom>
              <a:avLst/>
              <a:gdLst>
                <a:gd name="connsiteX0" fmla="*/ 3586 w 502024"/>
                <a:gd name="connsiteY0" fmla="*/ 89647 h 200810"/>
                <a:gd name="connsiteX1" fmla="*/ 0 w 502024"/>
                <a:gd name="connsiteY1" fmla="*/ 200810 h 200810"/>
                <a:gd name="connsiteX2" fmla="*/ 502024 w 502024"/>
                <a:gd name="connsiteY2" fmla="*/ 0 h 200810"/>
                <a:gd name="connsiteX3" fmla="*/ 3586 w 502024"/>
                <a:gd name="connsiteY3" fmla="*/ 89647 h 200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2024" h="200810">
                  <a:moveTo>
                    <a:pt x="3586" y="89647"/>
                  </a:moveTo>
                  <a:lnTo>
                    <a:pt x="0" y="200810"/>
                  </a:lnTo>
                  <a:lnTo>
                    <a:pt x="502024" y="0"/>
                  </a:lnTo>
                  <a:lnTo>
                    <a:pt x="3586" y="8964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1" name="Picture 60" descr="A close up of a logo&#10;&#10;Description automatically generated">
              <a:extLst>
                <a:ext uri="{FF2B5EF4-FFF2-40B4-BE49-F238E27FC236}">
                  <a16:creationId xmlns:a16="http://schemas.microsoft.com/office/drawing/2014/main" id="{6CEC27DB-D4E6-4A4B-B116-C4E24007CD0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85388" y="3145555"/>
              <a:ext cx="1686026" cy="933196"/>
            </a:xfrm>
            <a:prstGeom prst="rect">
              <a:avLst/>
            </a:prstGeom>
          </p:spPr>
        </p:pic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0E00AD80-248F-4C25-BFBB-4286F4FF358B}"/>
                </a:ext>
              </a:extLst>
            </p:cNvPr>
            <p:cNvSpPr txBox="1"/>
            <p:nvPr/>
          </p:nvSpPr>
          <p:spPr>
            <a:xfrm rot="20216292">
              <a:off x="5848844" y="3476040"/>
              <a:ext cx="1727603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/>
              <a:r>
                <a:rPr lang="en-US" sz="1050" b="1" i="1" dirty="0">
                  <a:solidFill>
                    <a:srgbClr val="FFC000"/>
                  </a:solidFill>
                  <a:latin typeface="Gotham Bold Italic" panose="02000504050000020004" pitchFamily="2" charset="0"/>
                </a:rPr>
                <a:t>GENERATION Z</a:t>
              </a:r>
            </a:p>
          </p:txBody>
        </p:sp>
      </p:grpSp>
      <p:sp>
        <p:nvSpPr>
          <p:cNvPr id="67" name="Rectangle 66">
            <a:extLst>
              <a:ext uri="{FF2B5EF4-FFF2-40B4-BE49-F238E27FC236}">
                <a16:creationId xmlns:a16="http://schemas.microsoft.com/office/drawing/2014/main" id="{46E7CE8C-11E1-4649-910D-32C790D84466}"/>
              </a:ext>
            </a:extLst>
          </p:cNvPr>
          <p:cNvSpPr/>
          <p:nvPr/>
        </p:nvSpPr>
        <p:spPr>
          <a:xfrm>
            <a:off x="7632340" y="170515"/>
            <a:ext cx="125098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1200" dirty="0">
                <a:solidFill>
                  <a:schemeClr val="bg1"/>
                </a:solidFill>
                <a:latin typeface="Gotham Light" pitchFamily="2" charset="0"/>
              </a:rPr>
              <a:t>#KIDSTHESEDAYS</a:t>
            </a:r>
            <a:endParaRPr lang="en-US" sz="1200" dirty="0">
              <a:latin typeface="Gotham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05538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Rectangle 64">
            <a:extLst>
              <a:ext uri="{FF2B5EF4-FFF2-40B4-BE49-F238E27FC236}">
                <a16:creationId xmlns:a16="http://schemas.microsoft.com/office/drawing/2014/main" id="{A1971C35-C534-4801-99A3-45FDE693FF0B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6" name="Frame 65">
            <a:extLst>
              <a:ext uri="{FF2B5EF4-FFF2-40B4-BE49-F238E27FC236}">
                <a16:creationId xmlns:a16="http://schemas.microsoft.com/office/drawing/2014/main" id="{96D1546A-7929-411A-9631-B042CF29D664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frame">
            <a:avLst>
              <a:gd name="adj1" fmla="val 194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D333F87F-8968-4409-80C6-9D18BBF11AFE}"/>
              </a:ext>
            </a:extLst>
          </p:cNvPr>
          <p:cNvGrpSpPr/>
          <p:nvPr/>
        </p:nvGrpSpPr>
        <p:grpSpPr>
          <a:xfrm>
            <a:off x="1144202" y="1168175"/>
            <a:ext cx="4291894" cy="2549195"/>
            <a:chOff x="1064037" y="1168175"/>
            <a:chExt cx="4291894" cy="2549195"/>
          </a:xfrm>
        </p:grpSpPr>
        <p:sp>
          <p:nvSpPr>
            <p:cNvPr id="67" name="Round Same Side Corner Rectangle 8">
              <a:extLst>
                <a:ext uri="{FF2B5EF4-FFF2-40B4-BE49-F238E27FC236}">
                  <a16:creationId xmlns:a16="http://schemas.microsoft.com/office/drawing/2014/main" id="{0864A205-74B7-41CF-959F-7ADDCFF9C30E}"/>
                </a:ext>
              </a:extLst>
            </p:cNvPr>
            <p:cNvSpPr/>
            <p:nvPr/>
          </p:nvSpPr>
          <p:spPr>
            <a:xfrm rot="5400000">
              <a:off x="2618338" y="-376245"/>
              <a:ext cx="375630" cy="3484231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0F61DA43-EBDC-4CF8-AEF6-810DE2301290}"/>
                </a:ext>
              </a:extLst>
            </p:cNvPr>
            <p:cNvSpPr/>
            <p:nvPr/>
          </p:nvSpPr>
          <p:spPr>
            <a:xfrm>
              <a:off x="1871700" y="1747600"/>
              <a:ext cx="3484231" cy="1969770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 fontAlgn="t">
                <a:spcBef>
                  <a:spcPts val="1200"/>
                </a:spcBef>
              </a:pPr>
              <a:r>
                <a:rPr lang="en-GB" sz="1200" dirty="0">
                  <a:solidFill>
                    <a:schemeClr val="bg1"/>
                  </a:solidFill>
                  <a:latin typeface="Gotham Condensed Medium" panose="02000504050000020004" pitchFamily="2" charset="0"/>
                </a:rPr>
                <a:t>Raised by Baby Boomers</a:t>
              </a:r>
            </a:p>
            <a:p>
              <a:pPr fontAlgn="t">
                <a:spcBef>
                  <a:spcPts val="1200"/>
                </a:spcBef>
              </a:pPr>
              <a:r>
                <a:rPr lang="en-GB" sz="1200" dirty="0">
                  <a:solidFill>
                    <a:schemeClr val="bg1"/>
                  </a:solidFill>
                  <a:latin typeface="Gotham Condensed Medium" panose="02000504050000020004" pitchFamily="2" charset="0"/>
                </a:rPr>
                <a:t>Grew up during an economic boom</a:t>
              </a:r>
            </a:p>
            <a:p>
              <a:pPr fontAlgn="t">
                <a:spcBef>
                  <a:spcPts val="1200"/>
                </a:spcBef>
              </a:pPr>
              <a:r>
                <a:rPr lang="en-GB" sz="1200" dirty="0">
                  <a:solidFill>
                    <a:schemeClr val="bg1"/>
                  </a:solidFill>
                  <a:latin typeface="Gotham Condensed Medium" panose="02000504050000020004" pitchFamily="2" charset="0"/>
                </a:rPr>
                <a:t>Tend to be idealistic</a:t>
              </a:r>
            </a:p>
            <a:p>
              <a:pPr fontAlgn="t">
                <a:spcBef>
                  <a:spcPts val="1200"/>
                </a:spcBef>
              </a:pPr>
              <a:r>
                <a:rPr lang="en-GB" sz="1200" dirty="0">
                  <a:solidFill>
                    <a:schemeClr val="bg1"/>
                  </a:solidFill>
                  <a:latin typeface="Gotham Condensed Medium" panose="02000504050000020004" pitchFamily="2" charset="0"/>
                </a:rPr>
                <a:t>Mobile pioneers</a:t>
              </a:r>
            </a:p>
            <a:p>
              <a:pPr fontAlgn="t">
                <a:spcBef>
                  <a:spcPts val="1200"/>
                </a:spcBef>
              </a:pPr>
              <a:r>
                <a:rPr lang="en-GB" sz="1200" dirty="0">
                  <a:solidFill>
                    <a:schemeClr val="bg1"/>
                  </a:solidFill>
                  <a:latin typeface="Gotham Condensed Medium" panose="02000504050000020004" pitchFamily="2" charset="0"/>
                </a:rPr>
                <a:t>Prefer brands that share their values</a:t>
              </a:r>
            </a:p>
            <a:p>
              <a:pPr fontAlgn="t">
                <a:spcBef>
                  <a:spcPts val="1200"/>
                </a:spcBef>
              </a:pPr>
              <a:r>
                <a:rPr lang="en-GB" sz="1200" dirty="0">
                  <a:solidFill>
                    <a:schemeClr val="bg1"/>
                  </a:solidFill>
                  <a:latin typeface="Gotham Condensed Medium" panose="02000504050000020004" pitchFamily="2" charset="0"/>
                </a:rPr>
                <a:t>Prefer Facebook and Instagram</a:t>
              </a: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A5AAC655-B896-45F9-880A-459A372DC207}"/>
                </a:ext>
              </a:extLst>
            </p:cNvPr>
            <p:cNvSpPr/>
            <p:nvPr/>
          </p:nvSpPr>
          <p:spPr>
            <a:xfrm>
              <a:off x="1932308" y="1168175"/>
              <a:ext cx="1153649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ctr"/>
              <a:r>
                <a:rPr lang="en-GB" sz="1400" b="1" dirty="0">
                  <a:solidFill>
                    <a:schemeClr val="bg1"/>
                  </a:solidFill>
                  <a:latin typeface="Gotham Bold" panose="02000504050000020004" pitchFamily="2" charset="0"/>
                </a:rPr>
                <a:t>Generation Y</a:t>
              </a: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1D330DC2-2BB0-4822-A2E8-7AC1B0B66DB0}"/>
              </a:ext>
            </a:extLst>
          </p:cNvPr>
          <p:cNvGrpSpPr/>
          <p:nvPr/>
        </p:nvGrpSpPr>
        <p:grpSpPr>
          <a:xfrm>
            <a:off x="5271027" y="1194306"/>
            <a:ext cx="4413171" cy="2549195"/>
            <a:chOff x="5271027" y="1194306"/>
            <a:chExt cx="4413171" cy="2549195"/>
          </a:xfrm>
        </p:grpSpPr>
        <p:sp>
          <p:nvSpPr>
            <p:cNvPr id="73" name="Round Same Side Corner Rectangle 15">
              <a:extLst>
                <a:ext uri="{FF2B5EF4-FFF2-40B4-BE49-F238E27FC236}">
                  <a16:creationId xmlns:a16="http://schemas.microsoft.com/office/drawing/2014/main" id="{023610C6-DA57-4C30-AF69-343E425F6694}"/>
                </a:ext>
              </a:extLst>
            </p:cNvPr>
            <p:cNvSpPr/>
            <p:nvPr/>
          </p:nvSpPr>
          <p:spPr>
            <a:xfrm rot="5400000">
              <a:off x="6825328" y="-350114"/>
              <a:ext cx="375630" cy="3484231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F068A921-996E-4EB2-9950-EDB1E337FE1C}"/>
                </a:ext>
              </a:extLst>
            </p:cNvPr>
            <p:cNvSpPr/>
            <p:nvPr/>
          </p:nvSpPr>
          <p:spPr>
            <a:xfrm>
              <a:off x="6199967" y="1773731"/>
              <a:ext cx="3484231" cy="1969770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 fontAlgn="t">
                <a:spcBef>
                  <a:spcPts val="1200"/>
                </a:spcBef>
              </a:pPr>
              <a:r>
                <a:rPr lang="en-GB" sz="1200" dirty="0">
                  <a:solidFill>
                    <a:schemeClr val="bg1"/>
                  </a:solidFill>
                  <a:latin typeface="Gotham Condensed Medium" panose="02000504050000020004" pitchFamily="2" charset="0"/>
                </a:rPr>
                <a:t>Raised by Gen Xers</a:t>
              </a:r>
            </a:p>
            <a:p>
              <a:pPr fontAlgn="t">
                <a:spcBef>
                  <a:spcPts val="1200"/>
                </a:spcBef>
              </a:pPr>
              <a:r>
                <a:rPr lang="en-GB" sz="1200" dirty="0">
                  <a:solidFill>
                    <a:schemeClr val="bg1"/>
                  </a:solidFill>
                  <a:latin typeface="Gotham Condensed Medium" panose="02000504050000020004" pitchFamily="2" charset="0"/>
                </a:rPr>
                <a:t>Grew up during a recession</a:t>
              </a:r>
            </a:p>
            <a:p>
              <a:pPr fontAlgn="t">
                <a:spcBef>
                  <a:spcPts val="1200"/>
                </a:spcBef>
              </a:pPr>
              <a:r>
                <a:rPr lang="en-GB" sz="1200" dirty="0">
                  <a:solidFill>
                    <a:schemeClr val="bg1"/>
                  </a:solidFill>
                  <a:latin typeface="Gotham Condensed Medium" panose="02000504050000020004" pitchFamily="2" charset="0"/>
                </a:rPr>
                <a:t>Tend to be pragmatic</a:t>
              </a:r>
            </a:p>
            <a:p>
              <a:pPr fontAlgn="t">
                <a:spcBef>
                  <a:spcPts val="1200"/>
                </a:spcBef>
              </a:pPr>
              <a:r>
                <a:rPr lang="en-GB" sz="1200" dirty="0">
                  <a:solidFill>
                    <a:schemeClr val="bg1"/>
                  </a:solidFill>
                  <a:latin typeface="Gotham Condensed Medium" panose="02000504050000020004" pitchFamily="2" charset="0"/>
                </a:rPr>
                <a:t>Mobile natives</a:t>
              </a:r>
            </a:p>
            <a:p>
              <a:pPr fontAlgn="t">
                <a:spcBef>
                  <a:spcPts val="1200"/>
                </a:spcBef>
              </a:pPr>
              <a:r>
                <a:rPr lang="en-GB" sz="1200" dirty="0">
                  <a:solidFill>
                    <a:schemeClr val="bg1"/>
                  </a:solidFill>
                  <a:latin typeface="Gotham Condensed Medium" panose="02000504050000020004" pitchFamily="2" charset="0"/>
                </a:rPr>
                <a:t>Prefer brands that feel authentic</a:t>
              </a:r>
            </a:p>
            <a:p>
              <a:pPr fontAlgn="t">
                <a:spcBef>
                  <a:spcPts val="1200"/>
                </a:spcBef>
              </a:pPr>
              <a:r>
                <a:rPr lang="en-GB" sz="1200" dirty="0">
                  <a:solidFill>
                    <a:schemeClr val="bg1"/>
                  </a:solidFill>
                  <a:latin typeface="Gotham Condensed Medium" panose="02000504050000020004" pitchFamily="2" charset="0"/>
                </a:rPr>
                <a:t>Prefer Snapchat and Instagram Stories</a:t>
              </a: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108774CB-0939-42E2-9828-62810221B877}"/>
                </a:ext>
              </a:extLst>
            </p:cNvPr>
            <p:cNvSpPr/>
            <p:nvPr/>
          </p:nvSpPr>
          <p:spPr>
            <a:xfrm>
              <a:off x="6199967" y="1194306"/>
              <a:ext cx="1147237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ctr"/>
              <a:r>
                <a:rPr lang="en-GB" sz="1400" b="1" dirty="0">
                  <a:solidFill>
                    <a:schemeClr val="bg1"/>
                  </a:solidFill>
                  <a:latin typeface="Gotham Bold" panose="02000504050000020004" pitchFamily="2" charset="0"/>
                </a:rPr>
                <a:t>Generation Z</a:t>
              </a: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7EFA2088-05DD-4E9E-A6DE-3010E86FEE99}"/>
              </a:ext>
            </a:extLst>
          </p:cNvPr>
          <p:cNvGrpSpPr/>
          <p:nvPr/>
        </p:nvGrpSpPr>
        <p:grpSpPr>
          <a:xfrm>
            <a:off x="4388978" y="539463"/>
            <a:ext cx="1753358" cy="3744000"/>
            <a:chOff x="4388978" y="539463"/>
            <a:chExt cx="1753358" cy="3744000"/>
          </a:xfrm>
        </p:grpSpPr>
        <p:pic>
          <p:nvPicPr>
            <p:cNvPr id="77" name="Picture 76">
              <a:extLst>
                <a:ext uri="{FF2B5EF4-FFF2-40B4-BE49-F238E27FC236}">
                  <a16:creationId xmlns:a16="http://schemas.microsoft.com/office/drawing/2014/main" id="{8635EEC1-72A7-4845-B4C5-1031AA3BFB8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860032" y="539463"/>
              <a:ext cx="874691" cy="3744000"/>
            </a:xfrm>
            <a:prstGeom prst="rect">
              <a:avLst/>
            </a:prstGeom>
          </p:spPr>
        </p:pic>
        <p:pic>
          <p:nvPicPr>
            <p:cNvPr id="78" name="Picture 77" descr="A close up of a logo&#10;&#10;Description automatically generated">
              <a:extLst>
                <a:ext uri="{FF2B5EF4-FFF2-40B4-BE49-F238E27FC236}">
                  <a16:creationId xmlns:a16="http://schemas.microsoft.com/office/drawing/2014/main" id="{A94B61A0-B6F0-4CE2-BEB4-8346A2A703A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56310" y="3145555"/>
              <a:ext cx="1686026" cy="933196"/>
            </a:xfrm>
            <a:prstGeom prst="rect">
              <a:avLst/>
            </a:prstGeom>
          </p:spPr>
        </p:pic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11327DB8-A6B6-46D1-8C37-E1BA6FD208C5}"/>
                </a:ext>
              </a:extLst>
            </p:cNvPr>
            <p:cNvSpPr txBox="1"/>
            <p:nvPr/>
          </p:nvSpPr>
          <p:spPr>
            <a:xfrm rot="20216292">
              <a:off x="4388978" y="3482527"/>
              <a:ext cx="1727603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/>
              <a:r>
                <a:rPr lang="en-US" sz="1050" b="1" i="1" dirty="0">
                  <a:solidFill>
                    <a:srgbClr val="FFC000"/>
                  </a:solidFill>
                  <a:latin typeface="Gotham Bold Italic" panose="02000504050000020004" pitchFamily="2" charset="0"/>
                </a:rPr>
                <a:t>GENERATION Y</a:t>
              </a:r>
            </a:p>
          </p:txBody>
        </p:sp>
        <p:sp>
          <p:nvSpPr>
            <p:cNvPr id="80" name="Freeform 56">
              <a:extLst>
                <a:ext uri="{FF2B5EF4-FFF2-40B4-BE49-F238E27FC236}">
                  <a16:creationId xmlns:a16="http://schemas.microsoft.com/office/drawing/2014/main" id="{4FABCA14-89BB-41F2-8938-E18314C75B85}"/>
                </a:ext>
              </a:extLst>
            </p:cNvPr>
            <p:cNvSpPr/>
            <p:nvPr/>
          </p:nvSpPr>
          <p:spPr>
            <a:xfrm>
              <a:off x="4504442" y="3782567"/>
              <a:ext cx="765750" cy="307938"/>
            </a:xfrm>
            <a:custGeom>
              <a:avLst/>
              <a:gdLst>
                <a:gd name="connsiteX0" fmla="*/ 484094 w 484094"/>
                <a:gd name="connsiteY0" fmla="*/ 0 h 207981"/>
                <a:gd name="connsiteX1" fmla="*/ 480508 w 484094"/>
                <a:gd name="connsiteY1" fmla="*/ 125506 h 207981"/>
                <a:gd name="connsiteX2" fmla="*/ 0 w 484094"/>
                <a:gd name="connsiteY2" fmla="*/ 207981 h 207981"/>
                <a:gd name="connsiteX3" fmla="*/ 484094 w 484094"/>
                <a:gd name="connsiteY3" fmla="*/ 0 h 207981"/>
                <a:gd name="connsiteX0" fmla="*/ 484094 w 514150"/>
                <a:gd name="connsiteY0" fmla="*/ 0 h 207981"/>
                <a:gd name="connsiteX1" fmla="*/ 514150 w 514150"/>
                <a:gd name="connsiteY1" fmla="*/ 129736 h 207981"/>
                <a:gd name="connsiteX2" fmla="*/ 0 w 514150"/>
                <a:gd name="connsiteY2" fmla="*/ 207981 h 207981"/>
                <a:gd name="connsiteX3" fmla="*/ 484094 w 514150"/>
                <a:gd name="connsiteY3" fmla="*/ 0 h 207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4150" h="207981">
                  <a:moveTo>
                    <a:pt x="484094" y="0"/>
                  </a:moveTo>
                  <a:lnTo>
                    <a:pt x="514150" y="129736"/>
                  </a:lnTo>
                  <a:lnTo>
                    <a:pt x="0" y="207981"/>
                  </a:lnTo>
                  <a:lnTo>
                    <a:pt x="48409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Freeform 57">
              <a:extLst>
                <a:ext uri="{FF2B5EF4-FFF2-40B4-BE49-F238E27FC236}">
                  <a16:creationId xmlns:a16="http://schemas.microsoft.com/office/drawing/2014/main" id="{0324501F-5535-41B0-AF74-7AD7C63FCB29}"/>
                </a:ext>
              </a:extLst>
            </p:cNvPr>
            <p:cNvSpPr/>
            <p:nvPr/>
          </p:nvSpPr>
          <p:spPr>
            <a:xfrm>
              <a:off x="5556706" y="3148346"/>
              <a:ext cx="491458" cy="200810"/>
            </a:xfrm>
            <a:custGeom>
              <a:avLst/>
              <a:gdLst>
                <a:gd name="connsiteX0" fmla="*/ 3586 w 502024"/>
                <a:gd name="connsiteY0" fmla="*/ 89647 h 200810"/>
                <a:gd name="connsiteX1" fmla="*/ 0 w 502024"/>
                <a:gd name="connsiteY1" fmla="*/ 200810 h 200810"/>
                <a:gd name="connsiteX2" fmla="*/ 502024 w 502024"/>
                <a:gd name="connsiteY2" fmla="*/ 0 h 200810"/>
                <a:gd name="connsiteX3" fmla="*/ 3586 w 502024"/>
                <a:gd name="connsiteY3" fmla="*/ 89647 h 200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2024" h="200810">
                  <a:moveTo>
                    <a:pt x="3586" y="89647"/>
                  </a:moveTo>
                  <a:lnTo>
                    <a:pt x="0" y="200810"/>
                  </a:lnTo>
                  <a:lnTo>
                    <a:pt x="502024" y="0"/>
                  </a:lnTo>
                  <a:lnTo>
                    <a:pt x="3586" y="8964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6426DD89-A997-4ECF-83BF-921644282A3D}"/>
              </a:ext>
            </a:extLst>
          </p:cNvPr>
          <p:cNvGrpSpPr/>
          <p:nvPr/>
        </p:nvGrpSpPr>
        <p:grpSpPr>
          <a:xfrm>
            <a:off x="5848844" y="801803"/>
            <a:ext cx="1727603" cy="3492000"/>
            <a:chOff x="5848844" y="801803"/>
            <a:chExt cx="1727603" cy="3492000"/>
          </a:xfrm>
        </p:grpSpPr>
        <p:pic>
          <p:nvPicPr>
            <p:cNvPr id="83" name="Picture 82">
              <a:extLst>
                <a:ext uri="{FF2B5EF4-FFF2-40B4-BE49-F238E27FC236}">
                  <a16:creationId xmlns:a16="http://schemas.microsoft.com/office/drawing/2014/main" id="{E32E7674-5695-40B5-B0AC-591F5538DB8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32293" y="801803"/>
              <a:ext cx="1082028" cy="3492000"/>
            </a:xfrm>
            <a:prstGeom prst="rect">
              <a:avLst/>
            </a:prstGeom>
          </p:spPr>
        </p:pic>
        <p:sp>
          <p:nvSpPr>
            <p:cNvPr id="84" name="Freeform 58">
              <a:extLst>
                <a:ext uri="{FF2B5EF4-FFF2-40B4-BE49-F238E27FC236}">
                  <a16:creationId xmlns:a16="http://schemas.microsoft.com/office/drawing/2014/main" id="{B25F60C5-68C5-4609-9EA2-06B522BDCF02}"/>
                </a:ext>
              </a:extLst>
            </p:cNvPr>
            <p:cNvSpPr/>
            <p:nvPr/>
          </p:nvSpPr>
          <p:spPr>
            <a:xfrm>
              <a:off x="5926342" y="3789011"/>
              <a:ext cx="720986" cy="307938"/>
            </a:xfrm>
            <a:custGeom>
              <a:avLst/>
              <a:gdLst>
                <a:gd name="connsiteX0" fmla="*/ 484094 w 484094"/>
                <a:gd name="connsiteY0" fmla="*/ 0 h 207981"/>
                <a:gd name="connsiteX1" fmla="*/ 480508 w 484094"/>
                <a:gd name="connsiteY1" fmla="*/ 125506 h 207981"/>
                <a:gd name="connsiteX2" fmla="*/ 0 w 484094"/>
                <a:gd name="connsiteY2" fmla="*/ 207981 h 207981"/>
                <a:gd name="connsiteX3" fmla="*/ 484094 w 484094"/>
                <a:gd name="connsiteY3" fmla="*/ 0 h 207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4094" h="207981">
                  <a:moveTo>
                    <a:pt x="484094" y="0"/>
                  </a:moveTo>
                  <a:lnTo>
                    <a:pt x="480508" y="125506"/>
                  </a:lnTo>
                  <a:lnTo>
                    <a:pt x="0" y="207981"/>
                  </a:lnTo>
                  <a:lnTo>
                    <a:pt x="48409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" name="Freeform 59">
              <a:extLst>
                <a:ext uri="{FF2B5EF4-FFF2-40B4-BE49-F238E27FC236}">
                  <a16:creationId xmlns:a16="http://schemas.microsoft.com/office/drawing/2014/main" id="{4533BA92-01AE-4839-AF74-30F4ADADA523}"/>
                </a:ext>
              </a:extLst>
            </p:cNvPr>
            <p:cNvSpPr/>
            <p:nvPr/>
          </p:nvSpPr>
          <p:spPr>
            <a:xfrm>
              <a:off x="6912260" y="3130085"/>
              <a:ext cx="570336" cy="269757"/>
            </a:xfrm>
            <a:custGeom>
              <a:avLst/>
              <a:gdLst>
                <a:gd name="connsiteX0" fmla="*/ 3586 w 502024"/>
                <a:gd name="connsiteY0" fmla="*/ 89647 h 200810"/>
                <a:gd name="connsiteX1" fmla="*/ 0 w 502024"/>
                <a:gd name="connsiteY1" fmla="*/ 200810 h 200810"/>
                <a:gd name="connsiteX2" fmla="*/ 502024 w 502024"/>
                <a:gd name="connsiteY2" fmla="*/ 0 h 200810"/>
                <a:gd name="connsiteX3" fmla="*/ 3586 w 502024"/>
                <a:gd name="connsiteY3" fmla="*/ 89647 h 200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02024" h="200810">
                  <a:moveTo>
                    <a:pt x="3586" y="89647"/>
                  </a:moveTo>
                  <a:lnTo>
                    <a:pt x="0" y="200810"/>
                  </a:lnTo>
                  <a:lnTo>
                    <a:pt x="502024" y="0"/>
                  </a:lnTo>
                  <a:lnTo>
                    <a:pt x="3586" y="8964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6" name="Picture 85" descr="A close up of a logo&#10;&#10;Description automatically generated">
              <a:extLst>
                <a:ext uri="{FF2B5EF4-FFF2-40B4-BE49-F238E27FC236}">
                  <a16:creationId xmlns:a16="http://schemas.microsoft.com/office/drawing/2014/main" id="{7A6A9C60-4BFE-4C03-B69D-C358355F0A9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85388" y="3145555"/>
              <a:ext cx="1686026" cy="933196"/>
            </a:xfrm>
            <a:prstGeom prst="rect">
              <a:avLst/>
            </a:prstGeom>
          </p:spPr>
        </p:pic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B6C377DE-1C0C-4BD7-94C3-FD39DCA3BCE0}"/>
                </a:ext>
              </a:extLst>
            </p:cNvPr>
            <p:cNvSpPr txBox="1"/>
            <p:nvPr/>
          </p:nvSpPr>
          <p:spPr>
            <a:xfrm rot="20216292">
              <a:off x="5848844" y="3476040"/>
              <a:ext cx="1727603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/>
              <a:r>
                <a:rPr lang="en-US" sz="1050" b="1" i="1" dirty="0">
                  <a:solidFill>
                    <a:srgbClr val="FFC000"/>
                  </a:solidFill>
                  <a:latin typeface="Gotham Bold Italic" panose="02000504050000020004" pitchFamily="2" charset="0"/>
                </a:rPr>
                <a:t>GENERATION Z</a:t>
              </a:r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0226CEA9-25F3-46D6-A921-B0EE9FFC6F5F}"/>
              </a:ext>
            </a:extLst>
          </p:cNvPr>
          <p:cNvSpPr/>
          <p:nvPr/>
        </p:nvSpPr>
        <p:spPr>
          <a:xfrm>
            <a:off x="7632340" y="170515"/>
            <a:ext cx="125098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1200" dirty="0">
                <a:solidFill>
                  <a:schemeClr val="bg1"/>
                </a:solidFill>
                <a:latin typeface="Gotham Light" pitchFamily="2" charset="0"/>
              </a:rPr>
              <a:t>#KIDSTHESEDAYS</a:t>
            </a:r>
            <a:endParaRPr lang="en-US" sz="1200" dirty="0">
              <a:latin typeface="Gotham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36041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2222E-6 -3.7037E-7 L -0.15816 -0.02654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219" y="-108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94444E-6 2.83951E-6 L -0.45955 0.00308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2986" y="1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2000"/>
                            </p:stCondLst>
                            <p:childTnLst>
                              <p:par>
                                <p:cTn id="1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CDB3459-5507-4FE8-AB87-ED0F460E654D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0ECE206-047E-42C2-AC39-B3D6DFEAB5B2}"/>
              </a:ext>
            </a:extLst>
          </p:cNvPr>
          <p:cNvGrpSpPr/>
          <p:nvPr/>
        </p:nvGrpSpPr>
        <p:grpSpPr>
          <a:xfrm>
            <a:off x="242775" y="431463"/>
            <a:ext cx="1727603" cy="3862340"/>
            <a:chOff x="242775" y="431463"/>
            <a:chExt cx="1727603" cy="3862340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D45C938B-2966-DE48-A005-E6CA35943DE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8996" y="431463"/>
              <a:ext cx="1278688" cy="3862340"/>
            </a:xfrm>
            <a:prstGeom prst="rect">
              <a:avLst/>
            </a:prstGeom>
          </p:spPr>
        </p:pic>
        <p:grpSp>
          <p:nvGrpSpPr>
            <p:cNvPr id="106" name="Group 105">
              <a:extLst>
                <a:ext uri="{FF2B5EF4-FFF2-40B4-BE49-F238E27FC236}">
                  <a16:creationId xmlns:a16="http://schemas.microsoft.com/office/drawing/2014/main" id="{2D6771B2-0C5D-E640-89FB-03DB6AF39D1A}"/>
                </a:ext>
              </a:extLst>
            </p:cNvPr>
            <p:cNvGrpSpPr/>
            <p:nvPr/>
          </p:nvGrpSpPr>
          <p:grpSpPr>
            <a:xfrm>
              <a:off x="242775" y="3267512"/>
              <a:ext cx="1727603" cy="933196"/>
              <a:chOff x="242775" y="3267512"/>
              <a:chExt cx="1727603" cy="933196"/>
            </a:xfrm>
          </p:grpSpPr>
          <p:pic>
            <p:nvPicPr>
              <p:cNvPr id="100" name="Picture 99" descr="A close up of a logo&#10;&#10;Description automatically generated">
                <a:extLst>
                  <a:ext uri="{FF2B5EF4-FFF2-40B4-BE49-F238E27FC236}">
                    <a16:creationId xmlns:a16="http://schemas.microsoft.com/office/drawing/2014/main" id="{9D9D54D1-A608-7846-B8B8-9BC0FE4B450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59065" y="3267512"/>
                <a:ext cx="1686026" cy="933196"/>
              </a:xfrm>
              <a:prstGeom prst="rect">
                <a:avLst/>
              </a:prstGeom>
            </p:spPr>
          </p:pic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F0725833-F5CF-8147-AF77-49F527DD85E2}"/>
                  </a:ext>
                </a:extLst>
              </p:cNvPr>
              <p:cNvSpPr txBox="1"/>
              <p:nvPr/>
            </p:nvSpPr>
            <p:spPr>
              <a:xfrm rot="20216292">
                <a:off x="242775" y="3613452"/>
                <a:ext cx="1727603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00" b="1" i="1" dirty="0">
                    <a:solidFill>
                      <a:srgbClr val="FFC000"/>
                    </a:solidFill>
                    <a:latin typeface="Gotham Bold Italic" panose="02000504050000020004" pitchFamily="2" charset="0"/>
                  </a:rPr>
                  <a:t>GREATEST GENERATION</a:t>
                </a:r>
              </a:p>
            </p:txBody>
          </p:sp>
          <p:sp>
            <p:nvSpPr>
              <p:cNvPr id="103" name="Freeform 102">
                <a:extLst>
                  <a:ext uri="{FF2B5EF4-FFF2-40B4-BE49-F238E27FC236}">
                    <a16:creationId xmlns:a16="http://schemas.microsoft.com/office/drawing/2014/main" id="{966D8354-7035-844B-8769-3EE0C40AB93A}"/>
                  </a:ext>
                </a:extLst>
              </p:cNvPr>
              <p:cNvSpPr/>
              <p:nvPr/>
            </p:nvSpPr>
            <p:spPr>
              <a:xfrm>
                <a:off x="1330362" y="3281082"/>
                <a:ext cx="502024" cy="200810"/>
              </a:xfrm>
              <a:custGeom>
                <a:avLst/>
                <a:gdLst>
                  <a:gd name="connsiteX0" fmla="*/ 3586 w 502024"/>
                  <a:gd name="connsiteY0" fmla="*/ 89647 h 200810"/>
                  <a:gd name="connsiteX1" fmla="*/ 0 w 502024"/>
                  <a:gd name="connsiteY1" fmla="*/ 200810 h 200810"/>
                  <a:gd name="connsiteX2" fmla="*/ 502024 w 502024"/>
                  <a:gd name="connsiteY2" fmla="*/ 0 h 200810"/>
                  <a:gd name="connsiteX3" fmla="*/ 3586 w 502024"/>
                  <a:gd name="connsiteY3" fmla="*/ 89647 h 200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2024" h="200810">
                    <a:moveTo>
                      <a:pt x="3586" y="89647"/>
                    </a:moveTo>
                    <a:lnTo>
                      <a:pt x="0" y="200810"/>
                    </a:lnTo>
                    <a:lnTo>
                      <a:pt x="502024" y="0"/>
                    </a:lnTo>
                    <a:lnTo>
                      <a:pt x="3586" y="89647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5" name="Freeform 104">
                <a:extLst>
                  <a:ext uri="{FF2B5EF4-FFF2-40B4-BE49-F238E27FC236}">
                    <a16:creationId xmlns:a16="http://schemas.microsoft.com/office/drawing/2014/main" id="{C384855F-BAE9-E24E-AF99-DCA0EF942DAB}"/>
                  </a:ext>
                </a:extLst>
              </p:cNvPr>
              <p:cNvSpPr/>
              <p:nvPr/>
            </p:nvSpPr>
            <p:spPr>
              <a:xfrm>
                <a:off x="333487" y="3991087"/>
                <a:ext cx="484094" cy="207981"/>
              </a:xfrm>
              <a:custGeom>
                <a:avLst/>
                <a:gdLst>
                  <a:gd name="connsiteX0" fmla="*/ 484094 w 484094"/>
                  <a:gd name="connsiteY0" fmla="*/ 0 h 207981"/>
                  <a:gd name="connsiteX1" fmla="*/ 480508 w 484094"/>
                  <a:gd name="connsiteY1" fmla="*/ 125506 h 207981"/>
                  <a:gd name="connsiteX2" fmla="*/ 0 w 484094"/>
                  <a:gd name="connsiteY2" fmla="*/ 207981 h 207981"/>
                  <a:gd name="connsiteX3" fmla="*/ 484094 w 484094"/>
                  <a:gd name="connsiteY3" fmla="*/ 0 h 2079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4094" h="207981">
                    <a:moveTo>
                      <a:pt x="484094" y="0"/>
                    </a:moveTo>
                    <a:lnTo>
                      <a:pt x="480508" y="125506"/>
                    </a:lnTo>
                    <a:lnTo>
                      <a:pt x="0" y="207981"/>
                    </a:lnTo>
                    <a:lnTo>
                      <a:pt x="484094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2E8D48B8-BA1C-4BC1-B0AC-DA2E8C5558BA}"/>
              </a:ext>
            </a:extLst>
          </p:cNvPr>
          <p:cNvGrpSpPr/>
          <p:nvPr/>
        </p:nvGrpSpPr>
        <p:grpSpPr>
          <a:xfrm>
            <a:off x="1537010" y="339502"/>
            <a:ext cx="1788879" cy="3924000"/>
            <a:chOff x="1537010" y="339502"/>
            <a:chExt cx="1788879" cy="3924000"/>
          </a:xfrm>
        </p:grpSpPr>
        <p:pic>
          <p:nvPicPr>
            <p:cNvPr id="34" name="Picture 33" descr="A picture containing object&#10;&#10;Description automatically generated">
              <a:extLst>
                <a:ext uri="{FF2B5EF4-FFF2-40B4-BE49-F238E27FC236}">
                  <a16:creationId xmlns:a16="http://schemas.microsoft.com/office/drawing/2014/main" id="{89BA80BE-C462-0C46-B5B9-632092F5466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984632" y="339502"/>
              <a:ext cx="1039196" cy="3924000"/>
            </a:xfrm>
            <a:prstGeom prst="rect">
              <a:avLst/>
            </a:prstGeom>
          </p:spPr>
        </p:pic>
        <p:grpSp>
          <p:nvGrpSpPr>
            <p:cNvPr id="158" name="Group 157">
              <a:extLst>
                <a:ext uri="{FF2B5EF4-FFF2-40B4-BE49-F238E27FC236}">
                  <a16:creationId xmlns:a16="http://schemas.microsoft.com/office/drawing/2014/main" id="{58CD066A-3D6E-7541-8849-85CAE19287D3}"/>
                </a:ext>
              </a:extLst>
            </p:cNvPr>
            <p:cNvGrpSpPr/>
            <p:nvPr/>
          </p:nvGrpSpPr>
          <p:grpSpPr>
            <a:xfrm>
              <a:off x="1537010" y="3121752"/>
              <a:ext cx="1788879" cy="938362"/>
              <a:chOff x="1537010" y="3121752"/>
              <a:chExt cx="1788879" cy="938362"/>
            </a:xfrm>
          </p:grpSpPr>
          <p:pic>
            <p:nvPicPr>
              <p:cNvPr id="77" name="Picture 76" descr="A close up of a logo&#10;&#10;Description automatically generated">
                <a:extLst>
                  <a:ext uri="{FF2B5EF4-FFF2-40B4-BE49-F238E27FC236}">
                    <a16:creationId xmlns:a16="http://schemas.microsoft.com/office/drawing/2014/main" id="{664C1B62-5512-7343-8223-7252D194FFD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639863" y="3121752"/>
                <a:ext cx="1686026" cy="933196"/>
              </a:xfrm>
              <a:prstGeom prst="rect">
                <a:avLst/>
              </a:prstGeom>
            </p:spPr>
          </p:pic>
          <p:sp>
            <p:nvSpPr>
              <p:cNvPr id="83" name="TextBox 82">
                <a:extLst>
                  <a:ext uri="{FF2B5EF4-FFF2-40B4-BE49-F238E27FC236}">
                    <a16:creationId xmlns:a16="http://schemas.microsoft.com/office/drawing/2014/main" id="{4329F2BD-F554-D04B-B36A-B0D553CB96C9}"/>
                  </a:ext>
                </a:extLst>
              </p:cNvPr>
              <p:cNvSpPr txBox="1"/>
              <p:nvPr/>
            </p:nvSpPr>
            <p:spPr>
              <a:xfrm rot="20216292">
                <a:off x="1537010" y="3479106"/>
                <a:ext cx="1727603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 b="1" i="1" dirty="0">
                    <a:solidFill>
                      <a:srgbClr val="FFC000"/>
                    </a:solidFill>
                    <a:latin typeface="Gotham Bold Italic" panose="02000504050000020004" pitchFamily="2" charset="0"/>
                  </a:rPr>
                  <a:t>BABY BOOMERS</a:t>
                </a:r>
              </a:p>
            </p:txBody>
          </p:sp>
          <p:sp>
            <p:nvSpPr>
              <p:cNvPr id="107" name="Freeform 106">
                <a:extLst>
                  <a:ext uri="{FF2B5EF4-FFF2-40B4-BE49-F238E27FC236}">
                    <a16:creationId xmlns:a16="http://schemas.microsoft.com/office/drawing/2014/main" id="{455077B2-9B9B-F146-96C4-C6B2CB6002AF}"/>
                  </a:ext>
                </a:extLst>
              </p:cNvPr>
              <p:cNvSpPr/>
              <p:nvPr/>
            </p:nvSpPr>
            <p:spPr>
              <a:xfrm>
                <a:off x="1691681" y="3821393"/>
                <a:ext cx="569634" cy="238721"/>
              </a:xfrm>
              <a:custGeom>
                <a:avLst/>
                <a:gdLst>
                  <a:gd name="connsiteX0" fmla="*/ 484094 w 484094"/>
                  <a:gd name="connsiteY0" fmla="*/ 0 h 207981"/>
                  <a:gd name="connsiteX1" fmla="*/ 480508 w 484094"/>
                  <a:gd name="connsiteY1" fmla="*/ 125506 h 207981"/>
                  <a:gd name="connsiteX2" fmla="*/ 0 w 484094"/>
                  <a:gd name="connsiteY2" fmla="*/ 207981 h 207981"/>
                  <a:gd name="connsiteX3" fmla="*/ 484094 w 484094"/>
                  <a:gd name="connsiteY3" fmla="*/ 0 h 2079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4094" h="207981">
                    <a:moveTo>
                      <a:pt x="484094" y="0"/>
                    </a:moveTo>
                    <a:lnTo>
                      <a:pt x="480508" y="125506"/>
                    </a:lnTo>
                    <a:lnTo>
                      <a:pt x="0" y="207981"/>
                    </a:lnTo>
                    <a:lnTo>
                      <a:pt x="484094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8" name="Freeform 107">
                <a:extLst>
                  <a:ext uri="{FF2B5EF4-FFF2-40B4-BE49-F238E27FC236}">
                    <a16:creationId xmlns:a16="http://schemas.microsoft.com/office/drawing/2014/main" id="{5DC843AE-7CDE-9446-B7E5-7E784D95ED49}"/>
                  </a:ext>
                </a:extLst>
              </p:cNvPr>
              <p:cNvSpPr/>
              <p:nvPr/>
            </p:nvSpPr>
            <p:spPr>
              <a:xfrm>
                <a:off x="2742857" y="3124187"/>
                <a:ext cx="502024" cy="200810"/>
              </a:xfrm>
              <a:custGeom>
                <a:avLst/>
                <a:gdLst>
                  <a:gd name="connsiteX0" fmla="*/ 3586 w 502024"/>
                  <a:gd name="connsiteY0" fmla="*/ 89647 h 200810"/>
                  <a:gd name="connsiteX1" fmla="*/ 0 w 502024"/>
                  <a:gd name="connsiteY1" fmla="*/ 200810 h 200810"/>
                  <a:gd name="connsiteX2" fmla="*/ 502024 w 502024"/>
                  <a:gd name="connsiteY2" fmla="*/ 0 h 200810"/>
                  <a:gd name="connsiteX3" fmla="*/ 3586 w 502024"/>
                  <a:gd name="connsiteY3" fmla="*/ 89647 h 200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2024" h="200810">
                    <a:moveTo>
                      <a:pt x="3586" y="89647"/>
                    </a:moveTo>
                    <a:lnTo>
                      <a:pt x="0" y="200810"/>
                    </a:lnTo>
                    <a:lnTo>
                      <a:pt x="502024" y="0"/>
                    </a:lnTo>
                    <a:lnTo>
                      <a:pt x="3586" y="89647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6E7440EF-0BB0-4AD3-8034-FCFA8D21EC86}"/>
              </a:ext>
            </a:extLst>
          </p:cNvPr>
          <p:cNvGrpSpPr/>
          <p:nvPr/>
        </p:nvGrpSpPr>
        <p:grpSpPr>
          <a:xfrm>
            <a:off x="2957847" y="288368"/>
            <a:ext cx="1755411" cy="3996000"/>
            <a:chOff x="2957847" y="288368"/>
            <a:chExt cx="1755411" cy="3996000"/>
          </a:xfrm>
        </p:grpSpPr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25D32CAF-40A2-EC41-8672-1552D4CC63C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83868" y="288368"/>
              <a:ext cx="1066731" cy="3996000"/>
            </a:xfrm>
            <a:prstGeom prst="rect">
              <a:avLst/>
            </a:prstGeom>
          </p:spPr>
        </p:pic>
        <p:grpSp>
          <p:nvGrpSpPr>
            <p:cNvPr id="159" name="Group 158">
              <a:extLst>
                <a:ext uri="{FF2B5EF4-FFF2-40B4-BE49-F238E27FC236}">
                  <a16:creationId xmlns:a16="http://schemas.microsoft.com/office/drawing/2014/main" id="{585C467D-CBE4-AD4D-ACA4-63708083A4EE}"/>
                </a:ext>
              </a:extLst>
            </p:cNvPr>
            <p:cNvGrpSpPr/>
            <p:nvPr/>
          </p:nvGrpSpPr>
          <p:grpSpPr>
            <a:xfrm>
              <a:off x="2957847" y="3140459"/>
              <a:ext cx="1755411" cy="938292"/>
              <a:chOff x="2957847" y="3140459"/>
              <a:chExt cx="1755411" cy="938292"/>
            </a:xfrm>
          </p:grpSpPr>
          <p:pic>
            <p:nvPicPr>
              <p:cNvPr id="78" name="Picture 77" descr="A close up of a logo&#10;&#10;Description automatically generated">
                <a:extLst>
                  <a:ext uri="{FF2B5EF4-FFF2-40B4-BE49-F238E27FC236}">
                    <a16:creationId xmlns:a16="http://schemas.microsoft.com/office/drawing/2014/main" id="{95DF4D15-8E5F-3840-8324-1D742A03EEE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027232" y="3145555"/>
                <a:ext cx="1686026" cy="933196"/>
              </a:xfrm>
              <a:prstGeom prst="rect">
                <a:avLst/>
              </a:prstGeom>
            </p:spPr>
          </p:pic>
          <p:sp>
            <p:nvSpPr>
              <p:cNvPr id="84" name="TextBox 83">
                <a:extLst>
                  <a:ext uri="{FF2B5EF4-FFF2-40B4-BE49-F238E27FC236}">
                    <a16:creationId xmlns:a16="http://schemas.microsoft.com/office/drawing/2014/main" id="{8BF17B38-064B-C745-B767-3D5EF7B5AB41}"/>
                  </a:ext>
                </a:extLst>
              </p:cNvPr>
              <p:cNvSpPr txBox="1"/>
              <p:nvPr/>
            </p:nvSpPr>
            <p:spPr>
              <a:xfrm rot="20216292">
                <a:off x="2957847" y="3482526"/>
                <a:ext cx="1727603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ctr"/>
                <a:r>
                  <a:rPr lang="en-US" sz="1050" b="1" i="1" dirty="0">
                    <a:solidFill>
                      <a:srgbClr val="FFC000"/>
                    </a:solidFill>
                    <a:latin typeface="Gotham Bold Italic" panose="02000504050000020004" pitchFamily="2" charset="0"/>
                  </a:rPr>
                  <a:t>GENERATION X</a:t>
                </a:r>
              </a:p>
            </p:txBody>
          </p:sp>
          <p:sp>
            <p:nvSpPr>
              <p:cNvPr id="109" name="Freeform 108">
                <a:extLst>
                  <a:ext uri="{FF2B5EF4-FFF2-40B4-BE49-F238E27FC236}">
                    <a16:creationId xmlns:a16="http://schemas.microsoft.com/office/drawing/2014/main" id="{1BAE889E-27A5-EB4C-BF9B-692DFDC91D30}"/>
                  </a:ext>
                </a:extLst>
              </p:cNvPr>
              <p:cNvSpPr/>
              <p:nvPr/>
            </p:nvSpPr>
            <p:spPr>
              <a:xfrm>
                <a:off x="3093815" y="3837665"/>
                <a:ext cx="569634" cy="238721"/>
              </a:xfrm>
              <a:custGeom>
                <a:avLst/>
                <a:gdLst>
                  <a:gd name="connsiteX0" fmla="*/ 484094 w 484094"/>
                  <a:gd name="connsiteY0" fmla="*/ 0 h 207981"/>
                  <a:gd name="connsiteX1" fmla="*/ 480508 w 484094"/>
                  <a:gd name="connsiteY1" fmla="*/ 125506 h 207981"/>
                  <a:gd name="connsiteX2" fmla="*/ 0 w 484094"/>
                  <a:gd name="connsiteY2" fmla="*/ 207981 h 207981"/>
                  <a:gd name="connsiteX3" fmla="*/ 484094 w 484094"/>
                  <a:gd name="connsiteY3" fmla="*/ 0 h 2079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4094" h="207981">
                    <a:moveTo>
                      <a:pt x="484094" y="0"/>
                    </a:moveTo>
                    <a:lnTo>
                      <a:pt x="480508" y="125506"/>
                    </a:lnTo>
                    <a:lnTo>
                      <a:pt x="0" y="207981"/>
                    </a:lnTo>
                    <a:lnTo>
                      <a:pt x="484094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0" name="Freeform 109">
                <a:extLst>
                  <a:ext uri="{FF2B5EF4-FFF2-40B4-BE49-F238E27FC236}">
                    <a16:creationId xmlns:a16="http://schemas.microsoft.com/office/drawing/2014/main" id="{E91918DA-876B-6347-9311-ED6F08167FD5}"/>
                  </a:ext>
                </a:extLst>
              </p:cNvPr>
              <p:cNvSpPr/>
              <p:nvPr/>
            </p:nvSpPr>
            <p:spPr>
              <a:xfrm>
                <a:off x="4144991" y="3140459"/>
                <a:ext cx="452382" cy="200810"/>
              </a:xfrm>
              <a:custGeom>
                <a:avLst/>
                <a:gdLst>
                  <a:gd name="connsiteX0" fmla="*/ 3586 w 502024"/>
                  <a:gd name="connsiteY0" fmla="*/ 89647 h 200810"/>
                  <a:gd name="connsiteX1" fmla="*/ 0 w 502024"/>
                  <a:gd name="connsiteY1" fmla="*/ 200810 h 200810"/>
                  <a:gd name="connsiteX2" fmla="*/ 502024 w 502024"/>
                  <a:gd name="connsiteY2" fmla="*/ 0 h 200810"/>
                  <a:gd name="connsiteX3" fmla="*/ 3586 w 502024"/>
                  <a:gd name="connsiteY3" fmla="*/ 89647 h 200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2024" h="200810">
                    <a:moveTo>
                      <a:pt x="3586" y="89647"/>
                    </a:moveTo>
                    <a:lnTo>
                      <a:pt x="0" y="200810"/>
                    </a:lnTo>
                    <a:lnTo>
                      <a:pt x="502024" y="0"/>
                    </a:lnTo>
                    <a:lnTo>
                      <a:pt x="3586" y="89647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BB3ADE98-1F13-4ABF-88FD-F09146594844}"/>
              </a:ext>
            </a:extLst>
          </p:cNvPr>
          <p:cNvGrpSpPr/>
          <p:nvPr/>
        </p:nvGrpSpPr>
        <p:grpSpPr>
          <a:xfrm>
            <a:off x="4388978" y="539463"/>
            <a:ext cx="1753358" cy="3744000"/>
            <a:chOff x="4388978" y="539463"/>
            <a:chExt cx="1753358" cy="3744000"/>
          </a:xfrm>
        </p:grpSpPr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654F3A76-B807-704A-A85C-A63933B255C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860032" y="539463"/>
              <a:ext cx="874691" cy="3744000"/>
            </a:xfrm>
            <a:prstGeom prst="rect">
              <a:avLst/>
            </a:prstGeom>
          </p:spPr>
        </p:pic>
        <p:grpSp>
          <p:nvGrpSpPr>
            <p:cNvPr id="160" name="Group 159">
              <a:extLst>
                <a:ext uri="{FF2B5EF4-FFF2-40B4-BE49-F238E27FC236}">
                  <a16:creationId xmlns:a16="http://schemas.microsoft.com/office/drawing/2014/main" id="{8D2AFB2C-28E5-9F4C-AE21-C206EE8D0969}"/>
                </a:ext>
              </a:extLst>
            </p:cNvPr>
            <p:cNvGrpSpPr/>
            <p:nvPr/>
          </p:nvGrpSpPr>
          <p:grpSpPr>
            <a:xfrm>
              <a:off x="4388978" y="3145555"/>
              <a:ext cx="1753358" cy="944950"/>
              <a:chOff x="4388978" y="3145555"/>
              <a:chExt cx="1753358" cy="944950"/>
            </a:xfrm>
          </p:grpSpPr>
          <p:pic>
            <p:nvPicPr>
              <p:cNvPr id="79" name="Picture 78" descr="A close up of a logo&#10;&#10;Description automatically generated">
                <a:extLst>
                  <a:ext uri="{FF2B5EF4-FFF2-40B4-BE49-F238E27FC236}">
                    <a16:creationId xmlns:a16="http://schemas.microsoft.com/office/drawing/2014/main" id="{938EEF93-6A2A-7942-A4DB-7DD6654A233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456310" y="3145555"/>
                <a:ext cx="1686026" cy="933196"/>
              </a:xfrm>
              <a:prstGeom prst="rect">
                <a:avLst/>
              </a:prstGeom>
            </p:spPr>
          </p:pic>
          <p:sp>
            <p:nvSpPr>
              <p:cNvPr id="85" name="TextBox 84">
                <a:extLst>
                  <a:ext uri="{FF2B5EF4-FFF2-40B4-BE49-F238E27FC236}">
                    <a16:creationId xmlns:a16="http://schemas.microsoft.com/office/drawing/2014/main" id="{74A36050-73E6-2C49-9FB6-E34094D55C51}"/>
                  </a:ext>
                </a:extLst>
              </p:cNvPr>
              <p:cNvSpPr txBox="1"/>
              <p:nvPr/>
            </p:nvSpPr>
            <p:spPr>
              <a:xfrm rot="20216292">
                <a:off x="4388978" y="3482527"/>
                <a:ext cx="1727603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ctr"/>
                <a:r>
                  <a:rPr lang="en-US" sz="1050" b="1" i="1" dirty="0">
                    <a:solidFill>
                      <a:srgbClr val="FFC000"/>
                    </a:solidFill>
                    <a:latin typeface="Gotham Bold Italic" panose="02000504050000020004" pitchFamily="2" charset="0"/>
                  </a:rPr>
                  <a:t>GENERATION Y</a:t>
                </a:r>
              </a:p>
            </p:txBody>
          </p:sp>
          <p:sp>
            <p:nvSpPr>
              <p:cNvPr id="111" name="Freeform 110">
                <a:extLst>
                  <a:ext uri="{FF2B5EF4-FFF2-40B4-BE49-F238E27FC236}">
                    <a16:creationId xmlns:a16="http://schemas.microsoft.com/office/drawing/2014/main" id="{303438EA-5178-4046-AE42-5A90E1522371}"/>
                  </a:ext>
                </a:extLst>
              </p:cNvPr>
              <p:cNvSpPr/>
              <p:nvPr/>
            </p:nvSpPr>
            <p:spPr>
              <a:xfrm>
                <a:off x="4504442" y="3782567"/>
                <a:ext cx="765750" cy="307938"/>
              </a:xfrm>
              <a:custGeom>
                <a:avLst/>
                <a:gdLst>
                  <a:gd name="connsiteX0" fmla="*/ 484094 w 484094"/>
                  <a:gd name="connsiteY0" fmla="*/ 0 h 207981"/>
                  <a:gd name="connsiteX1" fmla="*/ 480508 w 484094"/>
                  <a:gd name="connsiteY1" fmla="*/ 125506 h 207981"/>
                  <a:gd name="connsiteX2" fmla="*/ 0 w 484094"/>
                  <a:gd name="connsiteY2" fmla="*/ 207981 h 207981"/>
                  <a:gd name="connsiteX3" fmla="*/ 484094 w 484094"/>
                  <a:gd name="connsiteY3" fmla="*/ 0 h 207981"/>
                  <a:gd name="connsiteX0" fmla="*/ 484094 w 514150"/>
                  <a:gd name="connsiteY0" fmla="*/ 0 h 207981"/>
                  <a:gd name="connsiteX1" fmla="*/ 514150 w 514150"/>
                  <a:gd name="connsiteY1" fmla="*/ 129736 h 207981"/>
                  <a:gd name="connsiteX2" fmla="*/ 0 w 514150"/>
                  <a:gd name="connsiteY2" fmla="*/ 207981 h 207981"/>
                  <a:gd name="connsiteX3" fmla="*/ 484094 w 514150"/>
                  <a:gd name="connsiteY3" fmla="*/ 0 h 2079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14150" h="207981">
                    <a:moveTo>
                      <a:pt x="484094" y="0"/>
                    </a:moveTo>
                    <a:lnTo>
                      <a:pt x="514150" y="129736"/>
                    </a:lnTo>
                    <a:lnTo>
                      <a:pt x="0" y="207981"/>
                    </a:lnTo>
                    <a:lnTo>
                      <a:pt x="484094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2" name="Freeform 111">
                <a:extLst>
                  <a:ext uri="{FF2B5EF4-FFF2-40B4-BE49-F238E27FC236}">
                    <a16:creationId xmlns:a16="http://schemas.microsoft.com/office/drawing/2014/main" id="{2191DD20-03EC-D941-881C-2C386FC855C6}"/>
                  </a:ext>
                </a:extLst>
              </p:cNvPr>
              <p:cNvSpPr/>
              <p:nvPr/>
            </p:nvSpPr>
            <p:spPr>
              <a:xfrm>
                <a:off x="5556706" y="3148346"/>
                <a:ext cx="491458" cy="200810"/>
              </a:xfrm>
              <a:custGeom>
                <a:avLst/>
                <a:gdLst>
                  <a:gd name="connsiteX0" fmla="*/ 3586 w 502024"/>
                  <a:gd name="connsiteY0" fmla="*/ 89647 h 200810"/>
                  <a:gd name="connsiteX1" fmla="*/ 0 w 502024"/>
                  <a:gd name="connsiteY1" fmla="*/ 200810 h 200810"/>
                  <a:gd name="connsiteX2" fmla="*/ 502024 w 502024"/>
                  <a:gd name="connsiteY2" fmla="*/ 0 h 200810"/>
                  <a:gd name="connsiteX3" fmla="*/ 3586 w 502024"/>
                  <a:gd name="connsiteY3" fmla="*/ 89647 h 200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2024" h="200810">
                    <a:moveTo>
                      <a:pt x="3586" y="89647"/>
                    </a:moveTo>
                    <a:lnTo>
                      <a:pt x="0" y="200810"/>
                    </a:lnTo>
                    <a:lnTo>
                      <a:pt x="502024" y="0"/>
                    </a:lnTo>
                    <a:lnTo>
                      <a:pt x="3586" y="89647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A108276B-ED6D-4566-A584-CDAEF56A9D3B}"/>
              </a:ext>
            </a:extLst>
          </p:cNvPr>
          <p:cNvGrpSpPr/>
          <p:nvPr/>
        </p:nvGrpSpPr>
        <p:grpSpPr>
          <a:xfrm>
            <a:off x="5848844" y="801803"/>
            <a:ext cx="1727603" cy="3492000"/>
            <a:chOff x="5848844" y="801803"/>
            <a:chExt cx="1727603" cy="3492000"/>
          </a:xfrm>
        </p:grpSpPr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6C99FBDF-5EBA-6142-B81E-3058E51340E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32293" y="801803"/>
              <a:ext cx="1082028" cy="3492000"/>
            </a:xfrm>
            <a:prstGeom prst="rect">
              <a:avLst/>
            </a:prstGeom>
          </p:spPr>
        </p:pic>
        <p:grpSp>
          <p:nvGrpSpPr>
            <p:cNvPr id="161" name="Group 160">
              <a:extLst>
                <a:ext uri="{FF2B5EF4-FFF2-40B4-BE49-F238E27FC236}">
                  <a16:creationId xmlns:a16="http://schemas.microsoft.com/office/drawing/2014/main" id="{E4A7C20D-6E63-0D49-872C-878CE4435140}"/>
                </a:ext>
              </a:extLst>
            </p:cNvPr>
            <p:cNvGrpSpPr/>
            <p:nvPr/>
          </p:nvGrpSpPr>
          <p:grpSpPr>
            <a:xfrm>
              <a:off x="5848844" y="3130085"/>
              <a:ext cx="1727603" cy="966864"/>
              <a:chOff x="5848844" y="3130085"/>
              <a:chExt cx="1727603" cy="966864"/>
            </a:xfrm>
          </p:grpSpPr>
          <p:sp>
            <p:nvSpPr>
              <p:cNvPr id="113" name="Freeform 112">
                <a:extLst>
                  <a:ext uri="{FF2B5EF4-FFF2-40B4-BE49-F238E27FC236}">
                    <a16:creationId xmlns:a16="http://schemas.microsoft.com/office/drawing/2014/main" id="{059680C4-0746-9B42-A5F0-64AE7F7A7E0C}"/>
                  </a:ext>
                </a:extLst>
              </p:cNvPr>
              <p:cNvSpPr/>
              <p:nvPr/>
            </p:nvSpPr>
            <p:spPr>
              <a:xfrm>
                <a:off x="5926342" y="3789011"/>
                <a:ext cx="720986" cy="307938"/>
              </a:xfrm>
              <a:custGeom>
                <a:avLst/>
                <a:gdLst>
                  <a:gd name="connsiteX0" fmla="*/ 484094 w 484094"/>
                  <a:gd name="connsiteY0" fmla="*/ 0 h 207981"/>
                  <a:gd name="connsiteX1" fmla="*/ 480508 w 484094"/>
                  <a:gd name="connsiteY1" fmla="*/ 125506 h 207981"/>
                  <a:gd name="connsiteX2" fmla="*/ 0 w 484094"/>
                  <a:gd name="connsiteY2" fmla="*/ 207981 h 207981"/>
                  <a:gd name="connsiteX3" fmla="*/ 484094 w 484094"/>
                  <a:gd name="connsiteY3" fmla="*/ 0 h 2079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4094" h="207981">
                    <a:moveTo>
                      <a:pt x="484094" y="0"/>
                    </a:moveTo>
                    <a:lnTo>
                      <a:pt x="480508" y="125506"/>
                    </a:lnTo>
                    <a:lnTo>
                      <a:pt x="0" y="207981"/>
                    </a:lnTo>
                    <a:lnTo>
                      <a:pt x="484094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4" name="Freeform 113">
                <a:extLst>
                  <a:ext uri="{FF2B5EF4-FFF2-40B4-BE49-F238E27FC236}">
                    <a16:creationId xmlns:a16="http://schemas.microsoft.com/office/drawing/2014/main" id="{F792AE69-509C-944C-8499-6CDCFDFCE01D}"/>
                  </a:ext>
                </a:extLst>
              </p:cNvPr>
              <p:cNvSpPr/>
              <p:nvPr/>
            </p:nvSpPr>
            <p:spPr>
              <a:xfrm>
                <a:off x="6900384" y="3130085"/>
                <a:ext cx="582211" cy="269757"/>
              </a:xfrm>
              <a:custGeom>
                <a:avLst/>
                <a:gdLst>
                  <a:gd name="connsiteX0" fmla="*/ 3586 w 502024"/>
                  <a:gd name="connsiteY0" fmla="*/ 89647 h 200810"/>
                  <a:gd name="connsiteX1" fmla="*/ 0 w 502024"/>
                  <a:gd name="connsiteY1" fmla="*/ 200810 h 200810"/>
                  <a:gd name="connsiteX2" fmla="*/ 502024 w 502024"/>
                  <a:gd name="connsiteY2" fmla="*/ 0 h 200810"/>
                  <a:gd name="connsiteX3" fmla="*/ 3586 w 502024"/>
                  <a:gd name="connsiteY3" fmla="*/ 89647 h 200810"/>
                  <a:gd name="connsiteX0" fmla="*/ 0 w 512477"/>
                  <a:gd name="connsiteY0" fmla="*/ 113392 h 200810"/>
                  <a:gd name="connsiteX1" fmla="*/ 10453 w 512477"/>
                  <a:gd name="connsiteY1" fmla="*/ 200810 h 200810"/>
                  <a:gd name="connsiteX2" fmla="*/ 512477 w 512477"/>
                  <a:gd name="connsiteY2" fmla="*/ 0 h 200810"/>
                  <a:gd name="connsiteX3" fmla="*/ 0 w 512477"/>
                  <a:gd name="connsiteY3" fmla="*/ 113392 h 200810"/>
                  <a:gd name="connsiteX0" fmla="*/ 0 w 512477"/>
                  <a:gd name="connsiteY0" fmla="*/ 113392 h 200810"/>
                  <a:gd name="connsiteX1" fmla="*/ 10453 w 512477"/>
                  <a:gd name="connsiteY1" fmla="*/ 200810 h 200810"/>
                  <a:gd name="connsiteX2" fmla="*/ 512477 w 512477"/>
                  <a:gd name="connsiteY2" fmla="*/ 0 h 200810"/>
                  <a:gd name="connsiteX3" fmla="*/ 89040 w 512477"/>
                  <a:gd name="connsiteY3" fmla="*/ 103791 h 200810"/>
                  <a:gd name="connsiteX4" fmla="*/ 0 w 512477"/>
                  <a:gd name="connsiteY4" fmla="*/ 113392 h 200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2477" h="200810">
                    <a:moveTo>
                      <a:pt x="0" y="113392"/>
                    </a:moveTo>
                    <a:lnTo>
                      <a:pt x="10453" y="200810"/>
                    </a:lnTo>
                    <a:lnTo>
                      <a:pt x="512477" y="0"/>
                    </a:lnTo>
                    <a:cubicBezTo>
                      <a:pt x="371331" y="30639"/>
                      <a:pt x="230186" y="73152"/>
                      <a:pt x="89040" y="103791"/>
                    </a:cubicBezTo>
                    <a:lnTo>
                      <a:pt x="0" y="113392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80" name="Picture 79" descr="A close up of a logo&#10;&#10;Description automatically generated">
                <a:extLst>
                  <a:ext uri="{FF2B5EF4-FFF2-40B4-BE49-F238E27FC236}">
                    <a16:creationId xmlns:a16="http://schemas.microsoft.com/office/drawing/2014/main" id="{2D5AF6D8-7A0C-054F-A695-68A581805B1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885388" y="3145555"/>
                <a:ext cx="1686026" cy="933196"/>
              </a:xfrm>
              <a:prstGeom prst="rect">
                <a:avLst/>
              </a:prstGeom>
            </p:spPr>
          </p:pic>
          <p:sp>
            <p:nvSpPr>
              <p:cNvPr id="86" name="TextBox 85">
                <a:extLst>
                  <a:ext uri="{FF2B5EF4-FFF2-40B4-BE49-F238E27FC236}">
                    <a16:creationId xmlns:a16="http://schemas.microsoft.com/office/drawing/2014/main" id="{2A7527F2-4CBF-AF42-BAF0-8ADF8ED1794D}"/>
                  </a:ext>
                </a:extLst>
              </p:cNvPr>
              <p:cNvSpPr txBox="1"/>
              <p:nvPr/>
            </p:nvSpPr>
            <p:spPr>
              <a:xfrm rot="20216292">
                <a:off x="5848844" y="3476040"/>
                <a:ext cx="1727603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ctr"/>
                <a:r>
                  <a:rPr lang="en-US" sz="1050" b="1" i="1" dirty="0">
                    <a:solidFill>
                      <a:srgbClr val="FFC000"/>
                    </a:solidFill>
                    <a:latin typeface="Gotham Bold Italic" panose="02000504050000020004" pitchFamily="2" charset="0"/>
                  </a:rPr>
                  <a:t>GENERATION Z</a:t>
                </a:r>
              </a:p>
            </p:txBody>
          </p:sp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A46F94F5-0D00-4005-ACC8-08BDDB702CBA}"/>
              </a:ext>
            </a:extLst>
          </p:cNvPr>
          <p:cNvGrpSpPr/>
          <p:nvPr/>
        </p:nvGrpSpPr>
        <p:grpSpPr>
          <a:xfrm>
            <a:off x="7256621" y="1594102"/>
            <a:ext cx="1781818" cy="2730328"/>
            <a:chOff x="7256621" y="1594102"/>
            <a:chExt cx="1781818" cy="2730328"/>
          </a:xfrm>
        </p:grpSpPr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851C378F-40AB-4B4B-BABF-4CA08DEA493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68636" y="1594102"/>
              <a:ext cx="1006371" cy="2730328"/>
            </a:xfrm>
            <a:prstGeom prst="rect">
              <a:avLst/>
            </a:prstGeom>
          </p:spPr>
        </p:pic>
        <p:grpSp>
          <p:nvGrpSpPr>
            <p:cNvPr id="162" name="Group 161">
              <a:extLst>
                <a:ext uri="{FF2B5EF4-FFF2-40B4-BE49-F238E27FC236}">
                  <a16:creationId xmlns:a16="http://schemas.microsoft.com/office/drawing/2014/main" id="{62515B91-5E9E-9540-AA85-04E64FDDB810}"/>
                </a:ext>
              </a:extLst>
            </p:cNvPr>
            <p:cNvGrpSpPr/>
            <p:nvPr/>
          </p:nvGrpSpPr>
          <p:grpSpPr>
            <a:xfrm>
              <a:off x="7256621" y="3140459"/>
              <a:ext cx="1781818" cy="943459"/>
              <a:chOff x="7256621" y="3140459"/>
              <a:chExt cx="1781818" cy="943459"/>
            </a:xfrm>
          </p:grpSpPr>
          <p:pic>
            <p:nvPicPr>
              <p:cNvPr id="81" name="Picture 80" descr="A close up of a logo&#10;&#10;Description automatically generated">
                <a:extLst>
                  <a:ext uri="{FF2B5EF4-FFF2-40B4-BE49-F238E27FC236}">
                    <a16:creationId xmlns:a16="http://schemas.microsoft.com/office/drawing/2014/main" id="{4AED3A51-7783-1C49-A5BC-36EF39A4637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352413" y="3150722"/>
                <a:ext cx="1686026" cy="933196"/>
              </a:xfrm>
              <a:prstGeom prst="rect">
                <a:avLst/>
              </a:prstGeom>
            </p:spPr>
          </p:pic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769BB93C-1073-7246-819D-365E7E73C0E5}"/>
                  </a:ext>
                </a:extLst>
              </p:cNvPr>
              <p:cNvSpPr txBox="1"/>
              <p:nvPr/>
            </p:nvSpPr>
            <p:spPr>
              <a:xfrm rot="20250267">
                <a:off x="7256621" y="3499556"/>
                <a:ext cx="1727603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50" b="1" i="1" dirty="0">
                    <a:solidFill>
                      <a:srgbClr val="FFC000"/>
                    </a:solidFill>
                    <a:latin typeface="Gotham Bold Italic" panose="02000504050000020004" pitchFamily="2" charset="0"/>
                  </a:rPr>
                  <a:t>GENERATION ALPHA</a:t>
                </a:r>
              </a:p>
            </p:txBody>
          </p:sp>
          <p:sp>
            <p:nvSpPr>
              <p:cNvPr id="115" name="Freeform 114">
                <a:extLst>
                  <a:ext uri="{FF2B5EF4-FFF2-40B4-BE49-F238E27FC236}">
                    <a16:creationId xmlns:a16="http://schemas.microsoft.com/office/drawing/2014/main" id="{9333AFE6-C0D8-2B48-A5F6-4A5D2CAE495E}"/>
                  </a:ext>
                </a:extLst>
              </p:cNvPr>
              <p:cNvSpPr/>
              <p:nvPr/>
            </p:nvSpPr>
            <p:spPr>
              <a:xfrm>
                <a:off x="8624336" y="3140459"/>
                <a:ext cx="340444" cy="150536"/>
              </a:xfrm>
              <a:custGeom>
                <a:avLst/>
                <a:gdLst>
                  <a:gd name="connsiteX0" fmla="*/ 3586 w 502024"/>
                  <a:gd name="connsiteY0" fmla="*/ 89647 h 200810"/>
                  <a:gd name="connsiteX1" fmla="*/ 0 w 502024"/>
                  <a:gd name="connsiteY1" fmla="*/ 200810 h 200810"/>
                  <a:gd name="connsiteX2" fmla="*/ 502024 w 502024"/>
                  <a:gd name="connsiteY2" fmla="*/ 0 h 200810"/>
                  <a:gd name="connsiteX3" fmla="*/ 3586 w 502024"/>
                  <a:gd name="connsiteY3" fmla="*/ 89647 h 200810"/>
                  <a:gd name="connsiteX0" fmla="*/ 49764 w 502024"/>
                  <a:gd name="connsiteY0" fmla="*/ 31164 h 200810"/>
                  <a:gd name="connsiteX1" fmla="*/ 0 w 502024"/>
                  <a:gd name="connsiteY1" fmla="*/ 200810 h 200810"/>
                  <a:gd name="connsiteX2" fmla="*/ 502024 w 502024"/>
                  <a:gd name="connsiteY2" fmla="*/ 0 h 200810"/>
                  <a:gd name="connsiteX3" fmla="*/ 49764 w 502024"/>
                  <a:gd name="connsiteY3" fmla="*/ 31164 h 200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2024" h="200810">
                    <a:moveTo>
                      <a:pt x="49764" y="31164"/>
                    </a:moveTo>
                    <a:lnTo>
                      <a:pt x="0" y="200810"/>
                    </a:lnTo>
                    <a:lnTo>
                      <a:pt x="502024" y="0"/>
                    </a:lnTo>
                    <a:lnTo>
                      <a:pt x="49764" y="31164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6" name="Freeform 115">
                <a:extLst>
                  <a:ext uri="{FF2B5EF4-FFF2-40B4-BE49-F238E27FC236}">
                    <a16:creationId xmlns:a16="http://schemas.microsoft.com/office/drawing/2014/main" id="{A6DA2D34-DAB9-0D4B-BC8F-50B3CFC9147D}"/>
                  </a:ext>
                </a:extLst>
              </p:cNvPr>
              <p:cNvSpPr/>
              <p:nvPr/>
            </p:nvSpPr>
            <p:spPr>
              <a:xfrm>
                <a:off x="7424127" y="3875211"/>
                <a:ext cx="484094" cy="207981"/>
              </a:xfrm>
              <a:custGeom>
                <a:avLst/>
                <a:gdLst>
                  <a:gd name="connsiteX0" fmla="*/ 484094 w 484094"/>
                  <a:gd name="connsiteY0" fmla="*/ 0 h 207981"/>
                  <a:gd name="connsiteX1" fmla="*/ 480508 w 484094"/>
                  <a:gd name="connsiteY1" fmla="*/ 125506 h 207981"/>
                  <a:gd name="connsiteX2" fmla="*/ 0 w 484094"/>
                  <a:gd name="connsiteY2" fmla="*/ 207981 h 207981"/>
                  <a:gd name="connsiteX3" fmla="*/ 484094 w 484094"/>
                  <a:gd name="connsiteY3" fmla="*/ 0 h 2079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4094" h="207981">
                    <a:moveTo>
                      <a:pt x="484094" y="0"/>
                    </a:moveTo>
                    <a:lnTo>
                      <a:pt x="480508" y="125506"/>
                    </a:lnTo>
                    <a:lnTo>
                      <a:pt x="0" y="207981"/>
                    </a:lnTo>
                    <a:lnTo>
                      <a:pt x="484094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58" name="Frame 57">
            <a:extLst>
              <a:ext uri="{FF2B5EF4-FFF2-40B4-BE49-F238E27FC236}">
                <a16:creationId xmlns:a16="http://schemas.microsoft.com/office/drawing/2014/main" id="{C0C444EE-5993-4418-8E69-723A1571F40E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frame">
            <a:avLst>
              <a:gd name="adj1" fmla="val 194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0EAE177A-D2DA-4BCA-B683-EBD397F65BD9}"/>
              </a:ext>
            </a:extLst>
          </p:cNvPr>
          <p:cNvSpPr/>
          <p:nvPr/>
        </p:nvSpPr>
        <p:spPr>
          <a:xfrm>
            <a:off x="7632340" y="170515"/>
            <a:ext cx="125098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1200" dirty="0">
                <a:solidFill>
                  <a:schemeClr val="bg1"/>
                </a:solidFill>
                <a:latin typeface="Gotham Light" pitchFamily="2" charset="0"/>
              </a:rPr>
              <a:t>#KIDSTHESEDAYS</a:t>
            </a:r>
            <a:endParaRPr lang="en-US" sz="1200" dirty="0">
              <a:latin typeface="Gotham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23922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1E85FD06-094C-49E2-8073-8B475235754D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Frame 20">
            <a:extLst>
              <a:ext uri="{FF2B5EF4-FFF2-40B4-BE49-F238E27FC236}">
                <a16:creationId xmlns:a16="http://schemas.microsoft.com/office/drawing/2014/main" id="{941F1F78-0669-4675-B95F-7C4457153C01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frame">
            <a:avLst>
              <a:gd name="adj1" fmla="val 194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F538DE91-EA2C-FA45-98C0-25056B9554B6}"/>
              </a:ext>
            </a:extLst>
          </p:cNvPr>
          <p:cNvGrpSpPr/>
          <p:nvPr/>
        </p:nvGrpSpPr>
        <p:grpSpPr>
          <a:xfrm>
            <a:off x="2047936" y="1491630"/>
            <a:ext cx="3850705" cy="1801013"/>
            <a:chOff x="81560" y="4032786"/>
            <a:chExt cx="3850705" cy="1801013"/>
          </a:xfrm>
        </p:grpSpPr>
        <p:sp>
          <p:nvSpPr>
            <p:cNvPr id="18" name="Round Same Side Corner Rectangle 17">
              <a:extLst>
                <a:ext uri="{FF2B5EF4-FFF2-40B4-BE49-F238E27FC236}">
                  <a16:creationId xmlns:a16="http://schemas.microsoft.com/office/drawing/2014/main" id="{8CE42941-A065-0143-92A1-1284C47316C6}"/>
                </a:ext>
              </a:extLst>
            </p:cNvPr>
            <p:cNvSpPr/>
            <p:nvPr/>
          </p:nvSpPr>
          <p:spPr>
            <a:xfrm rot="5400000">
              <a:off x="1106406" y="3565141"/>
              <a:ext cx="1801013" cy="2736304"/>
            </a:xfrm>
            <a:prstGeom prst="round2SameRect">
              <a:avLst>
                <a:gd name="adj1" fmla="val 0"/>
                <a:gd name="adj2" fmla="val 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560C5C57-C06D-5941-8FD0-D43B8272BBD1}"/>
                </a:ext>
              </a:extLst>
            </p:cNvPr>
            <p:cNvSpPr/>
            <p:nvPr/>
          </p:nvSpPr>
          <p:spPr>
            <a:xfrm>
              <a:off x="1315057" y="4779404"/>
              <a:ext cx="1383712" cy="307777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r>
                <a:rPr lang="en-GB" sz="1400" b="1" dirty="0">
                  <a:solidFill>
                    <a:srgbClr val="00A8E2"/>
                  </a:solidFill>
                  <a:latin typeface="Gotham Bold" panose="02000504050000020004" pitchFamily="2" charset="0"/>
                </a:rPr>
                <a:t>Conservative</a:t>
              </a:r>
              <a:endParaRPr lang="en-US" sz="1400" dirty="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CDC9B169-85A1-FD40-8614-BA42F54DE539}"/>
                </a:ext>
              </a:extLst>
            </p:cNvPr>
            <p:cNvSpPr/>
            <p:nvPr/>
          </p:nvSpPr>
          <p:spPr>
            <a:xfrm>
              <a:off x="1085508" y="4136388"/>
              <a:ext cx="1973617" cy="307777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r>
                <a:rPr lang="en-GB" sz="1400" b="1" dirty="0">
                  <a:solidFill>
                    <a:srgbClr val="00A8E2"/>
                  </a:solidFill>
                  <a:latin typeface="Gotham Bold" panose="02000504050000020004" pitchFamily="2" charset="0"/>
                </a:rPr>
                <a:t>Born into survivors </a:t>
              </a:r>
              <a:endParaRPr lang="en-US" sz="1400" dirty="0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08A7AF68-32FF-4F43-B6DE-F77639B1D6AF}"/>
                </a:ext>
              </a:extLst>
            </p:cNvPr>
            <p:cNvSpPr/>
            <p:nvPr/>
          </p:nvSpPr>
          <p:spPr>
            <a:xfrm>
              <a:off x="1515431" y="5420784"/>
              <a:ext cx="982961" cy="307777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r>
                <a:rPr lang="en-GB" sz="1400" b="1" dirty="0">
                  <a:solidFill>
                    <a:srgbClr val="00A8E2"/>
                  </a:solidFill>
                  <a:latin typeface="Gotham Bold" panose="02000504050000020004" pitchFamily="2" charset="0"/>
                </a:rPr>
                <a:t> “Fixers”</a:t>
              </a:r>
              <a:endParaRPr lang="en-US" sz="1400" dirty="0"/>
            </a:p>
          </p:txBody>
        </p: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7DABA107-2C89-414D-868F-DD50E34734AA}"/>
                </a:ext>
              </a:extLst>
            </p:cNvPr>
            <p:cNvCxnSpPr>
              <a:cxnSpLocks/>
              <a:endCxn id="18" idx="1"/>
            </p:cNvCxnSpPr>
            <p:nvPr/>
          </p:nvCxnSpPr>
          <p:spPr>
            <a:xfrm>
              <a:off x="81560" y="4933294"/>
              <a:ext cx="557201" cy="0"/>
            </a:xfrm>
            <a:prstGeom prst="line">
              <a:avLst/>
            </a:prstGeom>
            <a:ln w="28575">
              <a:solidFill>
                <a:schemeClr val="bg1"/>
              </a:solidFill>
              <a:prstDash val="sysDot"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68DD4660-A22F-A042-8B2C-EE07E05561ED}"/>
                </a:ext>
              </a:extLst>
            </p:cNvPr>
            <p:cNvCxnSpPr>
              <a:cxnSpLocks/>
              <a:endCxn id="18" idx="3"/>
            </p:cNvCxnSpPr>
            <p:nvPr/>
          </p:nvCxnSpPr>
          <p:spPr>
            <a:xfrm flipH="1">
              <a:off x="3375065" y="4933294"/>
              <a:ext cx="557200" cy="0"/>
            </a:xfrm>
            <a:prstGeom prst="line">
              <a:avLst/>
            </a:prstGeom>
            <a:ln w="28575">
              <a:solidFill>
                <a:schemeClr val="bg1"/>
              </a:solidFill>
              <a:prstDash val="sysDot"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2D2D1855-8279-4491-AB75-CFFAE87C7E94}"/>
              </a:ext>
            </a:extLst>
          </p:cNvPr>
          <p:cNvGrpSpPr/>
          <p:nvPr/>
        </p:nvGrpSpPr>
        <p:grpSpPr>
          <a:xfrm>
            <a:off x="242775" y="431463"/>
            <a:ext cx="1727603" cy="3862340"/>
            <a:chOff x="242775" y="431463"/>
            <a:chExt cx="1727603" cy="3862340"/>
          </a:xfrm>
        </p:grpSpPr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A9CC93A0-0B8D-4229-9ECA-445078D24C9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8996" y="431463"/>
              <a:ext cx="1278688" cy="3862340"/>
            </a:xfrm>
            <a:prstGeom prst="rect">
              <a:avLst/>
            </a:prstGeom>
          </p:spPr>
        </p:pic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FA1F53BC-287D-4E03-968F-17EF1F7F8E9C}"/>
                </a:ext>
              </a:extLst>
            </p:cNvPr>
            <p:cNvGrpSpPr/>
            <p:nvPr/>
          </p:nvGrpSpPr>
          <p:grpSpPr>
            <a:xfrm>
              <a:off x="242775" y="3267512"/>
              <a:ext cx="1727603" cy="933196"/>
              <a:chOff x="242775" y="3267512"/>
              <a:chExt cx="1727603" cy="933196"/>
            </a:xfrm>
          </p:grpSpPr>
          <p:pic>
            <p:nvPicPr>
              <p:cNvPr id="31" name="Picture 30" descr="A close up of a logo&#10;&#10;Description automatically generated">
                <a:extLst>
                  <a:ext uri="{FF2B5EF4-FFF2-40B4-BE49-F238E27FC236}">
                    <a16:creationId xmlns:a16="http://schemas.microsoft.com/office/drawing/2014/main" id="{8CF449B9-D2E4-463D-8924-C82A0327C49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59065" y="3267512"/>
                <a:ext cx="1686026" cy="933196"/>
              </a:xfrm>
              <a:prstGeom prst="rect">
                <a:avLst/>
              </a:prstGeom>
            </p:spPr>
          </p:pic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BC2FC157-2338-427A-AFA5-993C91682D61}"/>
                  </a:ext>
                </a:extLst>
              </p:cNvPr>
              <p:cNvSpPr txBox="1"/>
              <p:nvPr/>
            </p:nvSpPr>
            <p:spPr>
              <a:xfrm rot="20216292">
                <a:off x="242775" y="3613452"/>
                <a:ext cx="1727603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00" b="1" i="1" dirty="0">
                    <a:solidFill>
                      <a:srgbClr val="FFC000"/>
                    </a:solidFill>
                    <a:latin typeface="Gotham Bold Italic" panose="02000504050000020004" pitchFamily="2" charset="0"/>
                  </a:rPr>
                  <a:t>GREATEST GENERATION</a:t>
                </a:r>
              </a:p>
            </p:txBody>
          </p:sp>
          <p:sp>
            <p:nvSpPr>
              <p:cNvPr id="33" name="Freeform 102">
                <a:extLst>
                  <a:ext uri="{FF2B5EF4-FFF2-40B4-BE49-F238E27FC236}">
                    <a16:creationId xmlns:a16="http://schemas.microsoft.com/office/drawing/2014/main" id="{621CB31B-0B8A-4404-B8CC-A92A08925FA0}"/>
                  </a:ext>
                </a:extLst>
              </p:cNvPr>
              <p:cNvSpPr/>
              <p:nvPr/>
            </p:nvSpPr>
            <p:spPr>
              <a:xfrm>
                <a:off x="1330362" y="3281082"/>
                <a:ext cx="502024" cy="200810"/>
              </a:xfrm>
              <a:custGeom>
                <a:avLst/>
                <a:gdLst>
                  <a:gd name="connsiteX0" fmla="*/ 3586 w 502024"/>
                  <a:gd name="connsiteY0" fmla="*/ 89647 h 200810"/>
                  <a:gd name="connsiteX1" fmla="*/ 0 w 502024"/>
                  <a:gd name="connsiteY1" fmla="*/ 200810 h 200810"/>
                  <a:gd name="connsiteX2" fmla="*/ 502024 w 502024"/>
                  <a:gd name="connsiteY2" fmla="*/ 0 h 200810"/>
                  <a:gd name="connsiteX3" fmla="*/ 3586 w 502024"/>
                  <a:gd name="connsiteY3" fmla="*/ 89647 h 200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2024" h="200810">
                    <a:moveTo>
                      <a:pt x="3586" y="89647"/>
                    </a:moveTo>
                    <a:lnTo>
                      <a:pt x="0" y="200810"/>
                    </a:lnTo>
                    <a:lnTo>
                      <a:pt x="502024" y="0"/>
                    </a:lnTo>
                    <a:lnTo>
                      <a:pt x="3586" y="89647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Freeform 104">
                <a:extLst>
                  <a:ext uri="{FF2B5EF4-FFF2-40B4-BE49-F238E27FC236}">
                    <a16:creationId xmlns:a16="http://schemas.microsoft.com/office/drawing/2014/main" id="{4DC93871-AFF8-4A6D-B10F-31656C193640}"/>
                  </a:ext>
                </a:extLst>
              </p:cNvPr>
              <p:cNvSpPr/>
              <p:nvPr/>
            </p:nvSpPr>
            <p:spPr>
              <a:xfrm>
                <a:off x="333487" y="3991087"/>
                <a:ext cx="484094" cy="207981"/>
              </a:xfrm>
              <a:custGeom>
                <a:avLst/>
                <a:gdLst>
                  <a:gd name="connsiteX0" fmla="*/ 484094 w 484094"/>
                  <a:gd name="connsiteY0" fmla="*/ 0 h 207981"/>
                  <a:gd name="connsiteX1" fmla="*/ 480508 w 484094"/>
                  <a:gd name="connsiteY1" fmla="*/ 125506 h 207981"/>
                  <a:gd name="connsiteX2" fmla="*/ 0 w 484094"/>
                  <a:gd name="connsiteY2" fmla="*/ 207981 h 207981"/>
                  <a:gd name="connsiteX3" fmla="*/ 484094 w 484094"/>
                  <a:gd name="connsiteY3" fmla="*/ 0 h 2079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4094" h="207981">
                    <a:moveTo>
                      <a:pt x="484094" y="0"/>
                    </a:moveTo>
                    <a:lnTo>
                      <a:pt x="480508" y="125506"/>
                    </a:lnTo>
                    <a:lnTo>
                      <a:pt x="0" y="207981"/>
                    </a:lnTo>
                    <a:lnTo>
                      <a:pt x="484094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80391C9-1206-4321-A65C-A3458C6146B8}"/>
              </a:ext>
            </a:extLst>
          </p:cNvPr>
          <p:cNvGrpSpPr/>
          <p:nvPr/>
        </p:nvGrpSpPr>
        <p:grpSpPr>
          <a:xfrm>
            <a:off x="5848844" y="801803"/>
            <a:ext cx="1727603" cy="3492000"/>
            <a:chOff x="5848844" y="801803"/>
            <a:chExt cx="1727603" cy="3492000"/>
          </a:xfrm>
        </p:grpSpPr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F644B6E8-80EE-4E21-ABBA-5E6B64B73AE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32293" y="801803"/>
              <a:ext cx="1082028" cy="3492000"/>
            </a:xfrm>
            <a:prstGeom prst="rect">
              <a:avLst/>
            </a:prstGeom>
          </p:spPr>
        </p:pic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82F3080E-AB73-469E-873B-2DEEEB0A9DD2}"/>
                </a:ext>
              </a:extLst>
            </p:cNvPr>
            <p:cNvGrpSpPr/>
            <p:nvPr/>
          </p:nvGrpSpPr>
          <p:grpSpPr>
            <a:xfrm>
              <a:off x="5848844" y="3130085"/>
              <a:ext cx="1727603" cy="966864"/>
              <a:chOff x="5848844" y="3130085"/>
              <a:chExt cx="1727603" cy="966864"/>
            </a:xfrm>
          </p:grpSpPr>
          <p:sp>
            <p:nvSpPr>
              <p:cNvPr id="48" name="Freeform 112">
                <a:extLst>
                  <a:ext uri="{FF2B5EF4-FFF2-40B4-BE49-F238E27FC236}">
                    <a16:creationId xmlns:a16="http://schemas.microsoft.com/office/drawing/2014/main" id="{AE66668C-0A86-463C-A08C-CB3410600BBA}"/>
                  </a:ext>
                </a:extLst>
              </p:cNvPr>
              <p:cNvSpPr/>
              <p:nvPr/>
            </p:nvSpPr>
            <p:spPr>
              <a:xfrm>
                <a:off x="5926342" y="3789011"/>
                <a:ext cx="720986" cy="307938"/>
              </a:xfrm>
              <a:custGeom>
                <a:avLst/>
                <a:gdLst>
                  <a:gd name="connsiteX0" fmla="*/ 484094 w 484094"/>
                  <a:gd name="connsiteY0" fmla="*/ 0 h 207981"/>
                  <a:gd name="connsiteX1" fmla="*/ 480508 w 484094"/>
                  <a:gd name="connsiteY1" fmla="*/ 125506 h 207981"/>
                  <a:gd name="connsiteX2" fmla="*/ 0 w 484094"/>
                  <a:gd name="connsiteY2" fmla="*/ 207981 h 207981"/>
                  <a:gd name="connsiteX3" fmla="*/ 484094 w 484094"/>
                  <a:gd name="connsiteY3" fmla="*/ 0 h 2079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4094" h="207981">
                    <a:moveTo>
                      <a:pt x="484094" y="0"/>
                    </a:moveTo>
                    <a:lnTo>
                      <a:pt x="480508" y="125506"/>
                    </a:lnTo>
                    <a:lnTo>
                      <a:pt x="0" y="207981"/>
                    </a:lnTo>
                    <a:lnTo>
                      <a:pt x="484094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9" name="Freeform 113">
                <a:extLst>
                  <a:ext uri="{FF2B5EF4-FFF2-40B4-BE49-F238E27FC236}">
                    <a16:creationId xmlns:a16="http://schemas.microsoft.com/office/drawing/2014/main" id="{877C2B5C-C6A3-4E54-9B01-EF3F3FF9567B}"/>
                  </a:ext>
                </a:extLst>
              </p:cNvPr>
              <p:cNvSpPr/>
              <p:nvPr/>
            </p:nvSpPr>
            <p:spPr>
              <a:xfrm>
                <a:off x="6900384" y="3130085"/>
                <a:ext cx="582211" cy="269757"/>
              </a:xfrm>
              <a:custGeom>
                <a:avLst/>
                <a:gdLst>
                  <a:gd name="connsiteX0" fmla="*/ 3586 w 502024"/>
                  <a:gd name="connsiteY0" fmla="*/ 89647 h 200810"/>
                  <a:gd name="connsiteX1" fmla="*/ 0 w 502024"/>
                  <a:gd name="connsiteY1" fmla="*/ 200810 h 200810"/>
                  <a:gd name="connsiteX2" fmla="*/ 502024 w 502024"/>
                  <a:gd name="connsiteY2" fmla="*/ 0 h 200810"/>
                  <a:gd name="connsiteX3" fmla="*/ 3586 w 502024"/>
                  <a:gd name="connsiteY3" fmla="*/ 89647 h 200810"/>
                  <a:gd name="connsiteX0" fmla="*/ 0 w 512477"/>
                  <a:gd name="connsiteY0" fmla="*/ 113392 h 200810"/>
                  <a:gd name="connsiteX1" fmla="*/ 10453 w 512477"/>
                  <a:gd name="connsiteY1" fmla="*/ 200810 h 200810"/>
                  <a:gd name="connsiteX2" fmla="*/ 512477 w 512477"/>
                  <a:gd name="connsiteY2" fmla="*/ 0 h 200810"/>
                  <a:gd name="connsiteX3" fmla="*/ 0 w 512477"/>
                  <a:gd name="connsiteY3" fmla="*/ 113392 h 200810"/>
                  <a:gd name="connsiteX0" fmla="*/ 0 w 512477"/>
                  <a:gd name="connsiteY0" fmla="*/ 113392 h 200810"/>
                  <a:gd name="connsiteX1" fmla="*/ 10453 w 512477"/>
                  <a:gd name="connsiteY1" fmla="*/ 200810 h 200810"/>
                  <a:gd name="connsiteX2" fmla="*/ 512477 w 512477"/>
                  <a:gd name="connsiteY2" fmla="*/ 0 h 200810"/>
                  <a:gd name="connsiteX3" fmla="*/ 89040 w 512477"/>
                  <a:gd name="connsiteY3" fmla="*/ 103791 h 200810"/>
                  <a:gd name="connsiteX4" fmla="*/ 0 w 512477"/>
                  <a:gd name="connsiteY4" fmla="*/ 113392 h 200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2477" h="200810">
                    <a:moveTo>
                      <a:pt x="0" y="113392"/>
                    </a:moveTo>
                    <a:lnTo>
                      <a:pt x="10453" y="200810"/>
                    </a:lnTo>
                    <a:lnTo>
                      <a:pt x="512477" y="0"/>
                    </a:lnTo>
                    <a:cubicBezTo>
                      <a:pt x="371331" y="30639"/>
                      <a:pt x="230186" y="73152"/>
                      <a:pt x="89040" y="103791"/>
                    </a:cubicBezTo>
                    <a:lnTo>
                      <a:pt x="0" y="113392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50" name="Picture 49" descr="A close up of a logo&#10;&#10;Description automatically generated">
                <a:extLst>
                  <a:ext uri="{FF2B5EF4-FFF2-40B4-BE49-F238E27FC236}">
                    <a16:creationId xmlns:a16="http://schemas.microsoft.com/office/drawing/2014/main" id="{1DB903DA-6C2B-48C7-AE89-253F2097B24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885388" y="3145555"/>
                <a:ext cx="1686026" cy="933196"/>
              </a:xfrm>
              <a:prstGeom prst="rect">
                <a:avLst/>
              </a:prstGeom>
            </p:spPr>
          </p:pic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88B30D6D-B156-43B2-95DE-92ADD2E91C9F}"/>
                  </a:ext>
                </a:extLst>
              </p:cNvPr>
              <p:cNvSpPr txBox="1"/>
              <p:nvPr/>
            </p:nvSpPr>
            <p:spPr>
              <a:xfrm rot="20216292">
                <a:off x="5848844" y="3476040"/>
                <a:ext cx="1727603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ctr"/>
                <a:r>
                  <a:rPr lang="en-US" sz="1050" b="1" i="1" dirty="0">
                    <a:solidFill>
                      <a:srgbClr val="FFC000"/>
                    </a:solidFill>
                    <a:latin typeface="Gotham Bold Italic" panose="02000504050000020004" pitchFamily="2" charset="0"/>
                  </a:rPr>
                  <a:t>GENERATION Z</a:t>
                </a:r>
              </a:p>
            </p:txBody>
          </p:sp>
        </p:grpSp>
      </p:grpSp>
      <p:sp>
        <p:nvSpPr>
          <p:cNvPr id="38" name="Rectangle 37">
            <a:extLst>
              <a:ext uri="{FF2B5EF4-FFF2-40B4-BE49-F238E27FC236}">
                <a16:creationId xmlns:a16="http://schemas.microsoft.com/office/drawing/2014/main" id="{712F20A2-1420-4A59-BB03-83C2FADCDE3D}"/>
              </a:ext>
            </a:extLst>
          </p:cNvPr>
          <p:cNvSpPr/>
          <p:nvPr/>
        </p:nvSpPr>
        <p:spPr>
          <a:xfrm>
            <a:off x="7632340" y="170515"/>
            <a:ext cx="125098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1200" dirty="0">
                <a:solidFill>
                  <a:schemeClr val="bg1"/>
                </a:solidFill>
                <a:latin typeface="Gotham Light" pitchFamily="2" charset="0"/>
              </a:rPr>
              <a:t>#KIDSTHESEDAYS</a:t>
            </a:r>
            <a:endParaRPr lang="en-US" sz="1200" dirty="0">
              <a:latin typeface="Gotham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1675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bathroom, metalware&#10;&#10;Description automatically generated">
            <a:extLst>
              <a:ext uri="{FF2B5EF4-FFF2-40B4-BE49-F238E27FC236}">
                <a16:creationId xmlns:a16="http://schemas.microsoft.com/office/drawing/2014/main" id="{9FDC02D8-A06C-084C-B3F0-F36284B2BEF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9144000" cy="5148597"/>
          </a:xfrm>
          <a:prstGeom prst="rect">
            <a:avLst/>
          </a:prstGeom>
        </p:spPr>
      </p:pic>
      <p:sp>
        <p:nvSpPr>
          <p:cNvPr id="4" name="Frame 3">
            <a:extLst>
              <a:ext uri="{FF2B5EF4-FFF2-40B4-BE49-F238E27FC236}">
                <a16:creationId xmlns:a16="http://schemas.microsoft.com/office/drawing/2014/main" id="{F643068A-D558-744C-80E9-720C2D8DB9E6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frame">
            <a:avLst>
              <a:gd name="adj1" fmla="val 1940"/>
            </a:avLst>
          </a:prstGeom>
          <a:solidFill>
            <a:srgbClr val="683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itle 8">
            <a:extLst>
              <a:ext uri="{FF2B5EF4-FFF2-40B4-BE49-F238E27FC236}">
                <a16:creationId xmlns:a16="http://schemas.microsoft.com/office/drawing/2014/main" id="{67879BC9-368C-CE41-BD14-BD7D93051B14}"/>
              </a:ext>
            </a:extLst>
          </p:cNvPr>
          <p:cNvSpPr txBox="1">
            <a:spLocks/>
          </p:cNvSpPr>
          <p:nvPr/>
        </p:nvSpPr>
        <p:spPr>
          <a:xfrm>
            <a:off x="360000" y="350859"/>
            <a:ext cx="8425225" cy="708723"/>
          </a:xfrm>
          <a:prstGeom prst="rect">
            <a:avLst/>
          </a:prstGeom>
        </p:spPr>
        <p:txBody>
          <a:bodyPr/>
          <a:lstStyle>
            <a:lvl1pPr algn="l" defTabSz="914411" rtl="0" eaLnBrk="1" latinLnBrk="0" hangingPunct="1">
              <a:lnSpc>
                <a:spcPct val="100000"/>
              </a:lnSpc>
              <a:spcBef>
                <a:spcPts val="300"/>
              </a:spcBef>
              <a:buNone/>
              <a:defRPr sz="1600" b="1" kern="1200" cap="none" spc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11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Bold" panose="02000504050000020004" pitchFamily="2" charset="0"/>
                <a:ea typeface="+mj-ea"/>
                <a:cs typeface="+mj-cs"/>
              </a:rPr>
              <a:t>RESEARCH METHODOLOGY 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D7BDA6C-F6FE-4A57-915E-52BCCE5211DB}"/>
              </a:ext>
            </a:extLst>
          </p:cNvPr>
          <p:cNvGrpSpPr/>
          <p:nvPr/>
        </p:nvGrpSpPr>
        <p:grpSpPr>
          <a:xfrm>
            <a:off x="3135470" y="1137098"/>
            <a:ext cx="2753159" cy="2484276"/>
            <a:chOff x="3135470" y="1137098"/>
            <a:chExt cx="2753159" cy="2484276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508E8E88-9907-4AFA-A31E-2859D003DBC1}"/>
                </a:ext>
              </a:extLst>
            </p:cNvPr>
            <p:cNvSpPr/>
            <p:nvPr/>
          </p:nvSpPr>
          <p:spPr>
            <a:xfrm>
              <a:off x="3329862" y="1137098"/>
              <a:ext cx="2484276" cy="2484276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93C3AFF3-015B-4DE5-AEC3-5603C3297716}"/>
                </a:ext>
              </a:extLst>
            </p:cNvPr>
            <p:cNvSpPr txBox="1"/>
            <p:nvPr/>
          </p:nvSpPr>
          <p:spPr>
            <a:xfrm flipH="1">
              <a:off x="3370723" y="1466945"/>
              <a:ext cx="2402553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E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683C9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DULTS 18+ COMPARISON</a:t>
              </a:r>
              <a:endParaRPr kumimoji="0" lang="en-IE" sz="1800" b="0" i="0" u="none" strike="noStrike" kern="1200" cap="none" spc="0" normalizeH="0" baseline="0" noProof="0" dirty="0">
                <a:ln>
                  <a:noFill/>
                </a:ln>
                <a:solidFill>
                  <a:srgbClr val="683C9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EF47B16A-6CE2-41D5-BDB9-E1B5CEA43441}"/>
                </a:ext>
              </a:extLst>
            </p:cNvPr>
            <p:cNvSpPr txBox="1"/>
            <p:nvPr/>
          </p:nvSpPr>
          <p:spPr>
            <a:xfrm flipH="1">
              <a:off x="3135470" y="2190792"/>
              <a:ext cx="2753159" cy="800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742838" marR="0" lvl="1" indent="-285750" algn="l" defTabSz="91418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83C9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indshare Day in the Life Of research (DILO)</a:t>
              </a:r>
            </a:p>
            <a:p>
              <a:pPr marL="742838" marR="0" lvl="1" indent="-285750" algn="l" defTabSz="91418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83C9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unning since 2012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225C7CC6-5B8F-44D3-8682-90A222F27A02}"/>
              </a:ext>
            </a:extLst>
          </p:cNvPr>
          <p:cNvGrpSpPr/>
          <p:nvPr/>
        </p:nvGrpSpPr>
        <p:grpSpPr>
          <a:xfrm>
            <a:off x="6192163" y="1210383"/>
            <a:ext cx="2857458" cy="2484276"/>
            <a:chOff x="6192163" y="1210383"/>
            <a:chExt cx="2857458" cy="2484276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91053C6D-DE2D-B340-8431-590ACB6C6825}"/>
                </a:ext>
              </a:extLst>
            </p:cNvPr>
            <p:cNvSpPr/>
            <p:nvPr/>
          </p:nvSpPr>
          <p:spPr>
            <a:xfrm>
              <a:off x="6330550" y="1210383"/>
              <a:ext cx="2484276" cy="2484276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A7178566-AABA-D94F-9B94-BD643DAF929B}"/>
                </a:ext>
              </a:extLst>
            </p:cNvPr>
            <p:cNvSpPr txBox="1"/>
            <p:nvPr/>
          </p:nvSpPr>
          <p:spPr>
            <a:xfrm flipH="1">
              <a:off x="6192163" y="1605444"/>
              <a:ext cx="285745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E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683C9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! ATTENTION ! </a:t>
              </a:r>
              <a:endParaRPr kumimoji="0" lang="en-IE" sz="1800" b="0" i="0" u="none" strike="noStrike" kern="1200" cap="none" spc="0" normalizeH="0" baseline="0" noProof="0" dirty="0">
                <a:ln>
                  <a:noFill/>
                </a:ln>
                <a:solidFill>
                  <a:srgbClr val="683C9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7F1DC895-8120-40E6-B367-72E83A698B3A}"/>
                </a:ext>
              </a:extLst>
            </p:cNvPr>
            <p:cNvSpPr txBox="1"/>
            <p:nvPr/>
          </p:nvSpPr>
          <p:spPr>
            <a:xfrm flipH="1">
              <a:off x="6227154" y="2102347"/>
              <a:ext cx="2753159" cy="12926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742838" marR="0" lvl="1" indent="-285750" algn="l" defTabSz="91418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83C9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5 media activities</a:t>
              </a:r>
            </a:p>
            <a:p>
              <a:pPr marL="742838" marR="0" lvl="1" indent="-285750" algn="l" defTabSz="91418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83C9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ach/time spent</a:t>
              </a:r>
            </a:p>
            <a:p>
              <a:pPr marL="742838" marR="0" lvl="1" indent="-285750" algn="l" defTabSz="91418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83C9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ime of the day</a:t>
              </a:r>
            </a:p>
            <a:p>
              <a:pPr marL="742838" marR="0" lvl="1" indent="-285750" algn="l" defTabSz="91418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83C9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ulti-screening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30115DF3-97F9-4823-92A3-8AAD971A43F2}"/>
              </a:ext>
            </a:extLst>
          </p:cNvPr>
          <p:cNvGrpSpPr/>
          <p:nvPr/>
        </p:nvGrpSpPr>
        <p:grpSpPr>
          <a:xfrm>
            <a:off x="283182" y="1155520"/>
            <a:ext cx="2758329" cy="2484276"/>
            <a:chOff x="283182" y="1155520"/>
            <a:chExt cx="2758329" cy="2484276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5CAC808B-7A4A-5B4A-A6B2-F0F0F3D4860F}"/>
                </a:ext>
              </a:extLst>
            </p:cNvPr>
            <p:cNvSpPr/>
            <p:nvPr/>
          </p:nvSpPr>
          <p:spPr>
            <a:xfrm>
              <a:off x="469773" y="1155520"/>
              <a:ext cx="2484276" cy="2484276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4DA31C8D-19D4-EB4A-AE7B-7FDBA4DB94BE}"/>
                </a:ext>
              </a:extLst>
            </p:cNvPr>
            <p:cNvSpPr txBox="1"/>
            <p:nvPr/>
          </p:nvSpPr>
          <p:spPr>
            <a:xfrm flipH="1">
              <a:off x="283182" y="1434880"/>
              <a:ext cx="2402553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457088" marR="0" lvl="1" indent="0" algn="ctr" defTabSz="914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E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683C9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WHO WE SPOKE TO</a:t>
              </a:r>
              <a:endParaRPr kumimoji="0" lang="en-IE" sz="1800" b="0" i="0" u="none" strike="noStrike" kern="1200" cap="none" spc="0" normalizeH="0" baseline="0" noProof="0" dirty="0">
                <a:ln>
                  <a:noFill/>
                </a:ln>
                <a:solidFill>
                  <a:srgbClr val="683C9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3EDCCD74-3DF7-45F7-B2E2-17FBF03A30D9}"/>
                </a:ext>
              </a:extLst>
            </p:cNvPr>
            <p:cNvSpPr txBox="1"/>
            <p:nvPr/>
          </p:nvSpPr>
          <p:spPr>
            <a:xfrm flipH="1">
              <a:off x="288352" y="2205050"/>
              <a:ext cx="2753159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742838" marR="0" lvl="1" indent="-285750" algn="l" defTabSz="91418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83C9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2-17 year olds</a:t>
              </a:r>
            </a:p>
            <a:p>
              <a:pPr marL="742838" marR="0" lvl="1" indent="-285750" algn="l" defTabSz="91418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83C9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00 respondents quant</a:t>
              </a:r>
            </a:p>
            <a:p>
              <a:pPr marL="742838" marR="0" lvl="1" indent="-285750" algn="l" defTabSz="914183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I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683C9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2 respondents qual</a:t>
              </a:r>
            </a:p>
          </p:txBody>
        </p:sp>
        <p:pic>
          <p:nvPicPr>
            <p:cNvPr id="4098" name="Picture 2" descr="Image result for amarach png logo">
              <a:extLst>
                <a:ext uri="{FF2B5EF4-FFF2-40B4-BE49-F238E27FC236}">
                  <a16:creationId xmlns:a16="http://schemas.microsoft.com/office/drawing/2014/main" id="{AE5026D2-766D-4DFC-AC44-7A25ABC7A7E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87875" y="3170547"/>
              <a:ext cx="648072" cy="3380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BEDFCB1E-912B-4B48-A08F-1EFFA14E75A4}"/>
              </a:ext>
            </a:extLst>
          </p:cNvPr>
          <p:cNvSpPr/>
          <p:nvPr/>
        </p:nvSpPr>
        <p:spPr>
          <a:xfrm>
            <a:off x="7458286" y="170515"/>
            <a:ext cx="159909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1200" dirty="0">
                <a:latin typeface="Gotham Light" pitchFamily="2" charset="0"/>
              </a:rPr>
              <a:t>#KIDSTHESEDAYS</a:t>
            </a:r>
            <a:endParaRPr lang="en-US" sz="1200" dirty="0">
              <a:latin typeface="Gotham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59813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39789B4-2A52-48CD-8A57-3FCC6B085A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28642"/>
            <a:ext cx="9144000" cy="520078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7B193B6-0684-48C9-9C15-4D4BDA4F65E7}"/>
              </a:ext>
            </a:extLst>
          </p:cNvPr>
          <p:cNvSpPr txBox="1"/>
          <p:nvPr/>
        </p:nvSpPr>
        <p:spPr>
          <a:xfrm>
            <a:off x="467544" y="2187029"/>
            <a:ext cx="572463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E" sz="4400" dirty="0">
                <a:solidFill>
                  <a:schemeClr val="bg1"/>
                </a:solidFill>
                <a:latin typeface="Gotham Book" panose="02000504050000020004" pitchFamily="2" charset="0"/>
              </a:rPr>
              <a:t>TV is not dead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4833015-6EDC-4DA3-9269-1BA2A24AA28F}"/>
              </a:ext>
            </a:extLst>
          </p:cNvPr>
          <p:cNvGrpSpPr>
            <a:grpSpLocks noChangeAspect="1"/>
          </p:cNvGrpSpPr>
          <p:nvPr/>
        </p:nvGrpSpPr>
        <p:grpSpPr>
          <a:xfrm>
            <a:off x="7308304" y="4417898"/>
            <a:ext cx="1603826" cy="494112"/>
            <a:chOff x="5043330" y="2582427"/>
            <a:chExt cx="2714033" cy="836158"/>
          </a:xfrm>
        </p:grpSpPr>
        <p:pic>
          <p:nvPicPr>
            <p:cNvPr id="5" name="logo graphic">
              <a:extLst>
                <a:ext uri="{FF2B5EF4-FFF2-40B4-BE49-F238E27FC236}">
                  <a16:creationId xmlns:a16="http://schemas.microsoft.com/office/drawing/2014/main" id="{A748C7A7-D7CE-4AC8-86F7-B119E26353C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21205" y="2582427"/>
              <a:ext cx="836158" cy="836158"/>
            </a:xfrm>
            <a:prstGeom prst="rect">
              <a:avLst/>
            </a:prstGeom>
          </p:spPr>
        </p:pic>
        <p:grpSp>
          <p:nvGrpSpPr>
            <p:cNvPr id="6" name="letters">
              <a:extLst>
                <a:ext uri="{FF2B5EF4-FFF2-40B4-BE49-F238E27FC236}">
                  <a16:creationId xmlns:a16="http://schemas.microsoft.com/office/drawing/2014/main" id="{CE042A2E-6A38-434C-8D60-1ABC4826C8DC}"/>
                </a:ext>
              </a:extLst>
            </p:cNvPr>
            <p:cNvGrpSpPr/>
            <p:nvPr/>
          </p:nvGrpSpPr>
          <p:grpSpPr>
            <a:xfrm>
              <a:off x="5043330" y="2901718"/>
              <a:ext cx="1777426" cy="197580"/>
              <a:chOff x="566670" y="435864"/>
              <a:chExt cx="1169700" cy="130025"/>
            </a:xfrm>
            <a:solidFill>
              <a:srgbClr val="FFFFFF"/>
            </a:solidFill>
          </p:grpSpPr>
          <p:sp>
            <p:nvSpPr>
              <p:cNvPr id="7" name="Freeform 6">
                <a:extLst>
                  <a:ext uri="{FF2B5EF4-FFF2-40B4-BE49-F238E27FC236}">
                    <a16:creationId xmlns:a16="http://schemas.microsoft.com/office/drawing/2014/main" id="{998B89A9-6DA8-4B58-8B51-B51D5ACC0E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670" y="437296"/>
                <a:ext cx="146069" cy="127448"/>
              </a:xfrm>
              <a:custGeom>
                <a:avLst/>
                <a:gdLst>
                  <a:gd name="T0" fmla="*/ 216 w 216"/>
                  <a:gd name="T1" fmla="*/ 188 h 188"/>
                  <a:gd name="T2" fmla="*/ 178 w 216"/>
                  <a:gd name="T3" fmla="*/ 188 h 188"/>
                  <a:gd name="T4" fmla="*/ 178 w 216"/>
                  <a:gd name="T5" fmla="*/ 66 h 188"/>
                  <a:gd name="T6" fmla="*/ 113 w 216"/>
                  <a:gd name="T7" fmla="*/ 145 h 188"/>
                  <a:gd name="T8" fmla="*/ 103 w 216"/>
                  <a:gd name="T9" fmla="*/ 145 h 188"/>
                  <a:gd name="T10" fmla="*/ 38 w 216"/>
                  <a:gd name="T11" fmla="*/ 66 h 188"/>
                  <a:gd name="T12" fmla="*/ 38 w 216"/>
                  <a:gd name="T13" fmla="*/ 188 h 188"/>
                  <a:gd name="T14" fmla="*/ 0 w 216"/>
                  <a:gd name="T15" fmla="*/ 188 h 188"/>
                  <a:gd name="T16" fmla="*/ 0 w 216"/>
                  <a:gd name="T17" fmla="*/ 20 h 188"/>
                  <a:gd name="T18" fmla="*/ 20 w 216"/>
                  <a:gd name="T19" fmla="*/ 0 h 188"/>
                  <a:gd name="T20" fmla="*/ 20 w 216"/>
                  <a:gd name="T21" fmla="*/ 0 h 188"/>
                  <a:gd name="T22" fmla="*/ 38 w 216"/>
                  <a:gd name="T23" fmla="*/ 9 h 188"/>
                  <a:gd name="T24" fmla="*/ 108 w 216"/>
                  <a:gd name="T25" fmla="*/ 94 h 188"/>
                  <a:gd name="T26" fmla="*/ 182 w 216"/>
                  <a:gd name="T27" fmla="*/ 6 h 188"/>
                  <a:gd name="T28" fmla="*/ 196 w 216"/>
                  <a:gd name="T29" fmla="*/ 0 h 188"/>
                  <a:gd name="T30" fmla="*/ 196 w 216"/>
                  <a:gd name="T31" fmla="*/ 0 h 188"/>
                  <a:gd name="T32" fmla="*/ 216 w 216"/>
                  <a:gd name="T33" fmla="*/ 19 h 188"/>
                  <a:gd name="T34" fmla="*/ 216 w 216"/>
                  <a:gd name="T35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16" h="188">
                    <a:moveTo>
                      <a:pt x="216" y="188"/>
                    </a:moveTo>
                    <a:cubicBezTo>
                      <a:pt x="178" y="188"/>
                      <a:pt x="178" y="188"/>
                      <a:pt x="178" y="188"/>
                    </a:cubicBezTo>
                    <a:cubicBezTo>
                      <a:pt x="178" y="66"/>
                      <a:pt x="178" y="66"/>
                      <a:pt x="178" y="66"/>
                    </a:cubicBezTo>
                    <a:cubicBezTo>
                      <a:pt x="113" y="145"/>
                      <a:pt x="113" y="145"/>
                      <a:pt x="113" y="145"/>
                    </a:cubicBezTo>
                    <a:cubicBezTo>
                      <a:pt x="110" y="148"/>
                      <a:pt x="106" y="148"/>
                      <a:pt x="103" y="145"/>
                    </a:cubicBezTo>
                    <a:cubicBezTo>
                      <a:pt x="38" y="66"/>
                      <a:pt x="38" y="66"/>
                      <a:pt x="38" y="66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8" y="0"/>
                      <a:pt x="32" y="3"/>
                      <a:pt x="38" y="9"/>
                    </a:cubicBezTo>
                    <a:cubicBezTo>
                      <a:pt x="108" y="94"/>
                      <a:pt x="108" y="94"/>
                      <a:pt x="108" y="94"/>
                    </a:cubicBezTo>
                    <a:cubicBezTo>
                      <a:pt x="182" y="6"/>
                      <a:pt x="182" y="6"/>
                      <a:pt x="182" y="6"/>
                    </a:cubicBezTo>
                    <a:cubicBezTo>
                      <a:pt x="185" y="2"/>
                      <a:pt x="190" y="0"/>
                      <a:pt x="196" y="0"/>
                    </a:cubicBezTo>
                    <a:cubicBezTo>
                      <a:pt x="196" y="0"/>
                      <a:pt x="196" y="0"/>
                      <a:pt x="196" y="0"/>
                    </a:cubicBezTo>
                    <a:cubicBezTo>
                      <a:pt x="207" y="0"/>
                      <a:pt x="216" y="8"/>
                      <a:pt x="216" y="19"/>
                    </a:cubicBezTo>
                    <a:lnTo>
                      <a:pt x="216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1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D0C4B"/>
                  </a:solidFill>
                  <a:effectLst/>
                  <a:uLnTx/>
                  <a:uFillTx/>
                  <a:sym typeface="Arial"/>
                </a:endParaRPr>
              </a:p>
            </p:txBody>
          </p:sp>
          <p:sp>
            <p:nvSpPr>
              <p:cNvPr id="8" name="Freeform 7">
                <a:extLst>
                  <a:ext uri="{FF2B5EF4-FFF2-40B4-BE49-F238E27FC236}">
                    <a16:creationId xmlns:a16="http://schemas.microsoft.com/office/drawing/2014/main" id="{457780FF-E6A3-4005-826E-9C23950F0B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50862" y="436723"/>
                <a:ext cx="146069" cy="128020"/>
              </a:xfrm>
              <a:custGeom>
                <a:avLst/>
                <a:gdLst>
                  <a:gd name="T0" fmla="*/ 0 w 216"/>
                  <a:gd name="T1" fmla="*/ 189 h 189"/>
                  <a:gd name="T2" fmla="*/ 42 w 216"/>
                  <a:gd name="T3" fmla="*/ 189 h 189"/>
                  <a:gd name="T4" fmla="*/ 66 w 216"/>
                  <a:gd name="T5" fmla="*/ 138 h 189"/>
                  <a:gd name="T6" fmla="*/ 148 w 216"/>
                  <a:gd name="T7" fmla="*/ 138 h 189"/>
                  <a:gd name="T8" fmla="*/ 174 w 216"/>
                  <a:gd name="T9" fmla="*/ 189 h 189"/>
                  <a:gd name="T10" fmla="*/ 216 w 216"/>
                  <a:gd name="T11" fmla="*/ 189 h 189"/>
                  <a:gd name="T12" fmla="*/ 124 w 216"/>
                  <a:gd name="T13" fmla="*/ 9 h 189"/>
                  <a:gd name="T14" fmla="*/ 106 w 216"/>
                  <a:gd name="T15" fmla="*/ 0 h 189"/>
                  <a:gd name="T16" fmla="*/ 106 w 216"/>
                  <a:gd name="T17" fmla="*/ 0 h 189"/>
                  <a:gd name="T18" fmla="*/ 89 w 216"/>
                  <a:gd name="T19" fmla="*/ 9 h 189"/>
                  <a:gd name="T20" fmla="*/ 0 w 216"/>
                  <a:gd name="T21" fmla="*/ 189 h 189"/>
                  <a:gd name="T22" fmla="*/ 106 w 216"/>
                  <a:gd name="T23" fmla="*/ 55 h 189"/>
                  <a:gd name="T24" fmla="*/ 133 w 216"/>
                  <a:gd name="T25" fmla="*/ 108 h 189"/>
                  <a:gd name="T26" fmla="*/ 81 w 216"/>
                  <a:gd name="T27" fmla="*/ 108 h 189"/>
                  <a:gd name="T28" fmla="*/ 106 w 216"/>
                  <a:gd name="T29" fmla="*/ 55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16" h="189">
                    <a:moveTo>
                      <a:pt x="0" y="189"/>
                    </a:moveTo>
                    <a:cubicBezTo>
                      <a:pt x="42" y="189"/>
                      <a:pt x="42" y="189"/>
                      <a:pt x="42" y="189"/>
                    </a:cubicBezTo>
                    <a:cubicBezTo>
                      <a:pt x="66" y="138"/>
                      <a:pt x="66" y="138"/>
                      <a:pt x="66" y="138"/>
                    </a:cubicBezTo>
                    <a:cubicBezTo>
                      <a:pt x="148" y="138"/>
                      <a:pt x="148" y="138"/>
                      <a:pt x="148" y="138"/>
                    </a:cubicBezTo>
                    <a:cubicBezTo>
                      <a:pt x="174" y="189"/>
                      <a:pt x="174" y="189"/>
                      <a:pt x="174" y="189"/>
                    </a:cubicBezTo>
                    <a:cubicBezTo>
                      <a:pt x="216" y="189"/>
                      <a:pt x="216" y="189"/>
                      <a:pt x="216" y="189"/>
                    </a:cubicBezTo>
                    <a:cubicBezTo>
                      <a:pt x="124" y="9"/>
                      <a:pt x="124" y="9"/>
                      <a:pt x="124" y="9"/>
                    </a:cubicBezTo>
                    <a:cubicBezTo>
                      <a:pt x="120" y="3"/>
                      <a:pt x="114" y="0"/>
                      <a:pt x="106" y="0"/>
                    </a:cubicBezTo>
                    <a:cubicBezTo>
                      <a:pt x="106" y="0"/>
                      <a:pt x="106" y="0"/>
                      <a:pt x="106" y="0"/>
                    </a:cubicBezTo>
                    <a:cubicBezTo>
                      <a:pt x="99" y="0"/>
                      <a:pt x="93" y="3"/>
                      <a:pt x="89" y="9"/>
                    </a:cubicBezTo>
                    <a:lnTo>
                      <a:pt x="0" y="189"/>
                    </a:lnTo>
                    <a:close/>
                    <a:moveTo>
                      <a:pt x="106" y="55"/>
                    </a:moveTo>
                    <a:cubicBezTo>
                      <a:pt x="133" y="108"/>
                      <a:pt x="133" y="108"/>
                      <a:pt x="133" y="108"/>
                    </a:cubicBezTo>
                    <a:cubicBezTo>
                      <a:pt x="81" y="108"/>
                      <a:pt x="81" y="108"/>
                      <a:pt x="81" y="108"/>
                    </a:cubicBezTo>
                    <a:lnTo>
                      <a:pt x="106" y="55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1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D0C4B"/>
                  </a:solidFill>
                  <a:effectLst/>
                  <a:uLnTx/>
                  <a:uFillTx/>
                  <a:sym typeface="Arial"/>
                </a:endParaRPr>
              </a:p>
            </p:txBody>
          </p:sp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7A61DB94-9080-4551-B2A3-48A4320CCB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9211" y="437296"/>
                <a:ext cx="128598" cy="127448"/>
              </a:xfrm>
              <a:custGeom>
                <a:avLst/>
                <a:gdLst>
                  <a:gd name="T0" fmla="*/ 190 w 190"/>
                  <a:gd name="T1" fmla="*/ 188 h 188"/>
                  <a:gd name="T2" fmla="*/ 163 w 190"/>
                  <a:gd name="T3" fmla="*/ 188 h 188"/>
                  <a:gd name="T4" fmla="*/ 38 w 190"/>
                  <a:gd name="T5" fmla="*/ 62 h 188"/>
                  <a:gd name="T6" fmla="*/ 38 w 190"/>
                  <a:gd name="T7" fmla="*/ 188 h 188"/>
                  <a:gd name="T8" fmla="*/ 0 w 190"/>
                  <a:gd name="T9" fmla="*/ 188 h 188"/>
                  <a:gd name="T10" fmla="*/ 0 w 190"/>
                  <a:gd name="T11" fmla="*/ 20 h 188"/>
                  <a:gd name="T12" fmla="*/ 21 w 190"/>
                  <a:gd name="T13" fmla="*/ 0 h 188"/>
                  <a:gd name="T14" fmla="*/ 21 w 190"/>
                  <a:gd name="T15" fmla="*/ 0 h 188"/>
                  <a:gd name="T16" fmla="*/ 36 w 190"/>
                  <a:gd name="T17" fmla="*/ 6 h 188"/>
                  <a:gd name="T18" fmla="*/ 152 w 190"/>
                  <a:gd name="T19" fmla="*/ 123 h 188"/>
                  <a:gd name="T20" fmla="*/ 152 w 190"/>
                  <a:gd name="T21" fmla="*/ 12 h 188"/>
                  <a:gd name="T22" fmla="*/ 165 w 190"/>
                  <a:gd name="T23" fmla="*/ 0 h 188"/>
                  <a:gd name="T24" fmla="*/ 178 w 190"/>
                  <a:gd name="T25" fmla="*/ 0 h 188"/>
                  <a:gd name="T26" fmla="*/ 190 w 190"/>
                  <a:gd name="T27" fmla="*/ 12 h 188"/>
                  <a:gd name="T28" fmla="*/ 190 w 190"/>
                  <a:gd name="T29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0" h="188">
                    <a:moveTo>
                      <a:pt x="190" y="188"/>
                    </a:moveTo>
                    <a:cubicBezTo>
                      <a:pt x="163" y="188"/>
                      <a:pt x="163" y="188"/>
                      <a:pt x="163" y="188"/>
                    </a:cubicBezTo>
                    <a:cubicBezTo>
                      <a:pt x="38" y="62"/>
                      <a:pt x="38" y="62"/>
                      <a:pt x="38" y="62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1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7" y="0"/>
                      <a:pt x="32" y="2"/>
                      <a:pt x="36" y="6"/>
                    </a:cubicBezTo>
                    <a:cubicBezTo>
                      <a:pt x="152" y="123"/>
                      <a:pt x="152" y="123"/>
                      <a:pt x="152" y="123"/>
                    </a:cubicBezTo>
                    <a:cubicBezTo>
                      <a:pt x="152" y="12"/>
                      <a:pt x="152" y="12"/>
                      <a:pt x="152" y="12"/>
                    </a:cubicBezTo>
                    <a:cubicBezTo>
                      <a:pt x="152" y="5"/>
                      <a:pt x="158" y="0"/>
                      <a:pt x="165" y="0"/>
                    </a:cubicBezTo>
                    <a:cubicBezTo>
                      <a:pt x="178" y="0"/>
                      <a:pt x="178" y="0"/>
                      <a:pt x="178" y="0"/>
                    </a:cubicBezTo>
                    <a:cubicBezTo>
                      <a:pt x="185" y="0"/>
                      <a:pt x="190" y="5"/>
                      <a:pt x="190" y="12"/>
                    </a:cubicBezTo>
                    <a:lnTo>
                      <a:pt x="190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1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D0C4B"/>
                  </a:solidFill>
                  <a:effectLst/>
                  <a:uLnTx/>
                  <a:uFillTx/>
                  <a:sym typeface="Arial"/>
                </a:endParaRPr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9EF118A4-2635-4524-AAD3-418A185A59B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43586" y="437296"/>
                <a:ext cx="127739" cy="127448"/>
              </a:xfrm>
              <a:custGeom>
                <a:avLst/>
                <a:gdLst>
                  <a:gd name="T0" fmla="*/ 117 w 189"/>
                  <a:gd name="T1" fmla="*/ 4 h 188"/>
                  <a:gd name="T2" fmla="*/ 72 w 189"/>
                  <a:gd name="T3" fmla="*/ 0 h 188"/>
                  <a:gd name="T4" fmla="*/ 19 w 189"/>
                  <a:gd name="T5" fmla="*/ 0 h 188"/>
                  <a:gd name="T6" fmla="*/ 0 w 189"/>
                  <a:gd name="T7" fmla="*/ 18 h 188"/>
                  <a:gd name="T8" fmla="*/ 0 w 189"/>
                  <a:gd name="T9" fmla="*/ 188 h 188"/>
                  <a:gd name="T10" fmla="*/ 62 w 189"/>
                  <a:gd name="T11" fmla="*/ 188 h 188"/>
                  <a:gd name="T12" fmla="*/ 115 w 189"/>
                  <a:gd name="T13" fmla="*/ 182 h 188"/>
                  <a:gd name="T14" fmla="*/ 189 w 189"/>
                  <a:gd name="T15" fmla="*/ 91 h 188"/>
                  <a:gd name="T16" fmla="*/ 117 w 189"/>
                  <a:gd name="T17" fmla="*/ 4 h 188"/>
                  <a:gd name="T18" fmla="*/ 105 w 189"/>
                  <a:gd name="T19" fmla="*/ 148 h 188"/>
                  <a:gd name="T20" fmla="*/ 62 w 189"/>
                  <a:gd name="T21" fmla="*/ 153 h 188"/>
                  <a:gd name="T22" fmla="*/ 62 w 189"/>
                  <a:gd name="T23" fmla="*/ 153 h 188"/>
                  <a:gd name="T24" fmla="*/ 38 w 189"/>
                  <a:gd name="T25" fmla="*/ 153 h 188"/>
                  <a:gd name="T26" fmla="*/ 38 w 189"/>
                  <a:gd name="T27" fmla="*/ 153 h 188"/>
                  <a:gd name="T28" fmla="*/ 38 w 189"/>
                  <a:gd name="T29" fmla="*/ 34 h 188"/>
                  <a:gd name="T30" fmla="*/ 38 w 189"/>
                  <a:gd name="T31" fmla="*/ 34 h 188"/>
                  <a:gd name="T32" fmla="*/ 68 w 189"/>
                  <a:gd name="T33" fmla="*/ 34 h 188"/>
                  <a:gd name="T34" fmla="*/ 68 w 189"/>
                  <a:gd name="T35" fmla="*/ 34 h 188"/>
                  <a:gd name="T36" fmla="*/ 107 w 189"/>
                  <a:gd name="T37" fmla="*/ 38 h 188"/>
                  <a:gd name="T38" fmla="*/ 150 w 189"/>
                  <a:gd name="T39" fmla="*/ 91 h 188"/>
                  <a:gd name="T40" fmla="*/ 105 w 189"/>
                  <a:gd name="T41" fmla="*/ 14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89" h="188">
                    <a:moveTo>
                      <a:pt x="117" y="4"/>
                    </a:moveTo>
                    <a:cubicBezTo>
                      <a:pt x="104" y="1"/>
                      <a:pt x="89" y="0"/>
                      <a:pt x="72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9" y="0"/>
                      <a:pt x="0" y="8"/>
                      <a:pt x="0" y="1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62" y="188"/>
                      <a:pt x="62" y="188"/>
                      <a:pt x="62" y="188"/>
                    </a:cubicBezTo>
                    <a:cubicBezTo>
                      <a:pt x="84" y="188"/>
                      <a:pt x="100" y="186"/>
                      <a:pt x="115" y="182"/>
                    </a:cubicBezTo>
                    <a:cubicBezTo>
                      <a:pt x="163" y="168"/>
                      <a:pt x="189" y="136"/>
                      <a:pt x="189" y="91"/>
                    </a:cubicBezTo>
                    <a:cubicBezTo>
                      <a:pt x="189" y="46"/>
                      <a:pt x="164" y="15"/>
                      <a:pt x="117" y="4"/>
                    </a:cubicBezTo>
                    <a:close/>
                    <a:moveTo>
                      <a:pt x="105" y="148"/>
                    </a:moveTo>
                    <a:cubicBezTo>
                      <a:pt x="94" y="151"/>
                      <a:pt x="79" y="153"/>
                      <a:pt x="62" y="153"/>
                    </a:cubicBezTo>
                    <a:cubicBezTo>
                      <a:pt x="62" y="153"/>
                      <a:pt x="62" y="153"/>
                      <a:pt x="62" y="153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68" y="34"/>
                      <a:pt x="68" y="34"/>
                      <a:pt x="68" y="34"/>
                    </a:cubicBezTo>
                    <a:cubicBezTo>
                      <a:pt x="68" y="34"/>
                      <a:pt x="68" y="34"/>
                      <a:pt x="68" y="34"/>
                    </a:cubicBezTo>
                    <a:cubicBezTo>
                      <a:pt x="86" y="34"/>
                      <a:pt x="97" y="35"/>
                      <a:pt x="107" y="38"/>
                    </a:cubicBezTo>
                    <a:cubicBezTo>
                      <a:pt x="136" y="46"/>
                      <a:pt x="150" y="63"/>
                      <a:pt x="150" y="91"/>
                    </a:cubicBezTo>
                    <a:cubicBezTo>
                      <a:pt x="150" y="120"/>
                      <a:pt x="135" y="139"/>
                      <a:pt x="105" y="14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1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D0C4B"/>
                  </a:solidFill>
                  <a:effectLst/>
                  <a:uLnTx/>
                  <a:uFillTx/>
                  <a:sym typeface="Arial"/>
                </a:endParaRPr>
              </a:p>
            </p:txBody>
          </p:sp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id="{CC6CE8EE-5C5A-4FBD-9599-F3A8297A510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13256" y="437296"/>
                <a:ext cx="110841" cy="127448"/>
              </a:xfrm>
              <a:custGeom>
                <a:avLst/>
                <a:gdLst>
                  <a:gd name="T0" fmla="*/ 113 w 164"/>
                  <a:gd name="T1" fmla="*/ 113 h 188"/>
                  <a:gd name="T2" fmla="*/ 158 w 164"/>
                  <a:gd name="T3" fmla="*/ 58 h 188"/>
                  <a:gd name="T4" fmla="*/ 82 w 164"/>
                  <a:gd name="T5" fmla="*/ 0 h 188"/>
                  <a:gd name="T6" fmla="*/ 19 w 164"/>
                  <a:gd name="T7" fmla="*/ 0 h 188"/>
                  <a:gd name="T8" fmla="*/ 0 w 164"/>
                  <a:gd name="T9" fmla="*/ 18 h 188"/>
                  <a:gd name="T10" fmla="*/ 0 w 164"/>
                  <a:gd name="T11" fmla="*/ 188 h 188"/>
                  <a:gd name="T12" fmla="*/ 38 w 164"/>
                  <a:gd name="T13" fmla="*/ 188 h 188"/>
                  <a:gd name="T14" fmla="*/ 38 w 164"/>
                  <a:gd name="T15" fmla="*/ 118 h 188"/>
                  <a:gd name="T16" fmla="*/ 72 w 164"/>
                  <a:gd name="T17" fmla="*/ 118 h 188"/>
                  <a:gd name="T18" fmla="*/ 119 w 164"/>
                  <a:gd name="T19" fmla="*/ 188 h 188"/>
                  <a:gd name="T20" fmla="*/ 164 w 164"/>
                  <a:gd name="T21" fmla="*/ 188 h 188"/>
                  <a:gd name="T22" fmla="*/ 113 w 164"/>
                  <a:gd name="T23" fmla="*/ 113 h 188"/>
                  <a:gd name="T24" fmla="*/ 38 w 164"/>
                  <a:gd name="T25" fmla="*/ 83 h 188"/>
                  <a:gd name="T26" fmla="*/ 38 w 164"/>
                  <a:gd name="T27" fmla="*/ 34 h 188"/>
                  <a:gd name="T28" fmla="*/ 85 w 164"/>
                  <a:gd name="T29" fmla="*/ 34 h 188"/>
                  <a:gd name="T30" fmla="*/ 118 w 164"/>
                  <a:gd name="T31" fmla="*/ 59 h 188"/>
                  <a:gd name="T32" fmla="*/ 77 w 164"/>
                  <a:gd name="T33" fmla="*/ 83 h 188"/>
                  <a:gd name="T34" fmla="*/ 38 w 164"/>
                  <a:gd name="T35" fmla="*/ 83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64" h="188">
                    <a:moveTo>
                      <a:pt x="113" y="113"/>
                    </a:moveTo>
                    <a:cubicBezTo>
                      <a:pt x="142" y="105"/>
                      <a:pt x="158" y="86"/>
                      <a:pt x="158" y="58"/>
                    </a:cubicBezTo>
                    <a:cubicBezTo>
                      <a:pt x="158" y="22"/>
                      <a:pt x="129" y="0"/>
                      <a:pt x="82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8" y="0"/>
                      <a:pt x="0" y="8"/>
                      <a:pt x="0" y="1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38" y="118"/>
                      <a:pt x="38" y="118"/>
                      <a:pt x="38" y="118"/>
                    </a:cubicBezTo>
                    <a:cubicBezTo>
                      <a:pt x="72" y="118"/>
                      <a:pt x="72" y="118"/>
                      <a:pt x="72" y="118"/>
                    </a:cubicBezTo>
                    <a:cubicBezTo>
                      <a:pt x="119" y="188"/>
                      <a:pt x="119" y="188"/>
                      <a:pt x="119" y="188"/>
                    </a:cubicBezTo>
                    <a:cubicBezTo>
                      <a:pt x="164" y="188"/>
                      <a:pt x="164" y="188"/>
                      <a:pt x="164" y="188"/>
                    </a:cubicBezTo>
                    <a:lnTo>
                      <a:pt x="113" y="113"/>
                    </a:lnTo>
                    <a:close/>
                    <a:moveTo>
                      <a:pt x="38" y="83"/>
                    </a:moveTo>
                    <a:cubicBezTo>
                      <a:pt x="38" y="34"/>
                      <a:pt x="38" y="34"/>
                      <a:pt x="38" y="34"/>
                    </a:cubicBezTo>
                    <a:cubicBezTo>
                      <a:pt x="85" y="34"/>
                      <a:pt x="85" y="34"/>
                      <a:pt x="85" y="34"/>
                    </a:cubicBezTo>
                    <a:cubicBezTo>
                      <a:pt x="98" y="34"/>
                      <a:pt x="118" y="38"/>
                      <a:pt x="118" y="59"/>
                    </a:cubicBezTo>
                    <a:cubicBezTo>
                      <a:pt x="118" y="69"/>
                      <a:pt x="114" y="83"/>
                      <a:pt x="77" y="83"/>
                    </a:cubicBezTo>
                    <a:lnTo>
                      <a:pt x="38" y="8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1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D0C4B"/>
                  </a:solidFill>
                  <a:effectLst/>
                  <a:uLnTx/>
                  <a:uFillTx/>
                  <a:sym typeface="Arial"/>
                </a:endParaRPr>
              </a:p>
            </p:txBody>
          </p:sp>
          <p:sp>
            <p:nvSpPr>
              <p:cNvPr id="12" name="Freeform 11">
                <a:extLst>
                  <a:ext uri="{FF2B5EF4-FFF2-40B4-BE49-F238E27FC236}">
                    <a16:creationId xmlns:a16="http://schemas.microsoft.com/office/drawing/2014/main" id="{B77A1196-5C09-4D1C-AE42-0C1B54CDE0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8516" y="437296"/>
                <a:ext cx="25777" cy="127448"/>
              </a:xfrm>
              <a:custGeom>
                <a:avLst/>
                <a:gdLst>
                  <a:gd name="T0" fmla="*/ 0 w 38"/>
                  <a:gd name="T1" fmla="*/ 188 h 188"/>
                  <a:gd name="T2" fmla="*/ 38 w 38"/>
                  <a:gd name="T3" fmla="*/ 188 h 188"/>
                  <a:gd name="T4" fmla="*/ 38 w 38"/>
                  <a:gd name="T5" fmla="*/ 12 h 188"/>
                  <a:gd name="T6" fmla="*/ 25 w 38"/>
                  <a:gd name="T7" fmla="*/ 0 h 188"/>
                  <a:gd name="T8" fmla="*/ 13 w 38"/>
                  <a:gd name="T9" fmla="*/ 0 h 188"/>
                  <a:gd name="T10" fmla="*/ 0 w 38"/>
                  <a:gd name="T11" fmla="*/ 12 h 188"/>
                  <a:gd name="T12" fmla="*/ 0 w 38"/>
                  <a:gd name="T13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" h="188">
                    <a:moveTo>
                      <a:pt x="0" y="188"/>
                    </a:moveTo>
                    <a:cubicBezTo>
                      <a:pt x="38" y="188"/>
                      <a:pt x="38" y="188"/>
                      <a:pt x="38" y="188"/>
                    </a:cubicBezTo>
                    <a:cubicBezTo>
                      <a:pt x="38" y="12"/>
                      <a:pt x="38" y="12"/>
                      <a:pt x="38" y="12"/>
                    </a:cubicBezTo>
                    <a:cubicBezTo>
                      <a:pt x="38" y="5"/>
                      <a:pt x="32" y="0"/>
                      <a:pt x="25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6" y="0"/>
                      <a:pt x="0" y="5"/>
                      <a:pt x="0" y="12"/>
                    </a:cubicBezTo>
                    <a:lnTo>
                      <a:pt x="0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1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D0C4B"/>
                  </a:solidFill>
                  <a:effectLst/>
                  <a:uLnTx/>
                  <a:uFillTx/>
                  <a:sym typeface="Arial"/>
                </a:endParaRPr>
              </a:p>
            </p:txBody>
          </p:sp>
          <p:sp>
            <p:nvSpPr>
              <p:cNvPr id="13" name="Freeform 12">
                <a:extLst>
                  <a:ext uri="{FF2B5EF4-FFF2-40B4-BE49-F238E27FC236}">
                    <a16:creationId xmlns:a16="http://schemas.microsoft.com/office/drawing/2014/main" id="{4348FA4E-AEC4-4A4D-A561-C4FB52B380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7394" y="437296"/>
                <a:ext cx="118001" cy="127448"/>
              </a:xfrm>
              <a:custGeom>
                <a:avLst/>
                <a:gdLst>
                  <a:gd name="T0" fmla="*/ 174 w 174"/>
                  <a:gd name="T1" fmla="*/ 188 h 188"/>
                  <a:gd name="T2" fmla="*/ 137 w 174"/>
                  <a:gd name="T3" fmla="*/ 188 h 188"/>
                  <a:gd name="T4" fmla="*/ 137 w 174"/>
                  <a:gd name="T5" fmla="*/ 110 h 188"/>
                  <a:gd name="T6" fmla="*/ 38 w 174"/>
                  <a:gd name="T7" fmla="*/ 110 h 188"/>
                  <a:gd name="T8" fmla="*/ 38 w 174"/>
                  <a:gd name="T9" fmla="*/ 188 h 188"/>
                  <a:gd name="T10" fmla="*/ 0 w 174"/>
                  <a:gd name="T11" fmla="*/ 188 h 188"/>
                  <a:gd name="T12" fmla="*/ 0 w 174"/>
                  <a:gd name="T13" fmla="*/ 12 h 188"/>
                  <a:gd name="T14" fmla="*/ 13 w 174"/>
                  <a:gd name="T15" fmla="*/ 0 h 188"/>
                  <a:gd name="T16" fmla="*/ 25 w 174"/>
                  <a:gd name="T17" fmla="*/ 0 h 188"/>
                  <a:gd name="T18" fmla="*/ 38 w 174"/>
                  <a:gd name="T19" fmla="*/ 12 h 188"/>
                  <a:gd name="T20" fmla="*/ 38 w 174"/>
                  <a:gd name="T21" fmla="*/ 75 h 188"/>
                  <a:gd name="T22" fmla="*/ 137 w 174"/>
                  <a:gd name="T23" fmla="*/ 75 h 188"/>
                  <a:gd name="T24" fmla="*/ 137 w 174"/>
                  <a:gd name="T25" fmla="*/ 12 h 188"/>
                  <a:gd name="T26" fmla="*/ 149 w 174"/>
                  <a:gd name="T27" fmla="*/ 0 h 188"/>
                  <a:gd name="T28" fmla="*/ 162 w 174"/>
                  <a:gd name="T29" fmla="*/ 0 h 188"/>
                  <a:gd name="T30" fmla="*/ 174 w 174"/>
                  <a:gd name="T31" fmla="*/ 12 h 188"/>
                  <a:gd name="T32" fmla="*/ 174 w 174"/>
                  <a:gd name="T33" fmla="*/ 188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4" h="188">
                    <a:moveTo>
                      <a:pt x="174" y="188"/>
                    </a:moveTo>
                    <a:cubicBezTo>
                      <a:pt x="137" y="188"/>
                      <a:pt x="137" y="188"/>
                      <a:pt x="137" y="188"/>
                    </a:cubicBezTo>
                    <a:cubicBezTo>
                      <a:pt x="137" y="110"/>
                      <a:pt x="137" y="110"/>
                      <a:pt x="137" y="110"/>
                    </a:cubicBezTo>
                    <a:cubicBezTo>
                      <a:pt x="38" y="110"/>
                      <a:pt x="38" y="110"/>
                      <a:pt x="38" y="110"/>
                    </a:cubicBezTo>
                    <a:cubicBezTo>
                      <a:pt x="38" y="188"/>
                      <a:pt x="38" y="188"/>
                      <a:pt x="38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5"/>
                      <a:pt x="6" y="0"/>
                      <a:pt x="13" y="0"/>
                    </a:cubicBezTo>
                    <a:cubicBezTo>
                      <a:pt x="25" y="0"/>
                      <a:pt x="25" y="0"/>
                      <a:pt x="25" y="0"/>
                    </a:cubicBezTo>
                    <a:cubicBezTo>
                      <a:pt x="32" y="0"/>
                      <a:pt x="38" y="5"/>
                      <a:pt x="38" y="12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137" y="75"/>
                      <a:pt x="137" y="75"/>
                      <a:pt x="137" y="75"/>
                    </a:cubicBezTo>
                    <a:cubicBezTo>
                      <a:pt x="137" y="12"/>
                      <a:pt x="137" y="12"/>
                      <a:pt x="137" y="12"/>
                    </a:cubicBezTo>
                    <a:cubicBezTo>
                      <a:pt x="137" y="5"/>
                      <a:pt x="142" y="0"/>
                      <a:pt x="149" y="0"/>
                    </a:cubicBezTo>
                    <a:cubicBezTo>
                      <a:pt x="162" y="0"/>
                      <a:pt x="162" y="0"/>
                      <a:pt x="162" y="0"/>
                    </a:cubicBezTo>
                    <a:cubicBezTo>
                      <a:pt x="169" y="0"/>
                      <a:pt x="174" y="5"/>
                      <a:pt x="174" y="12"/>
                    </a:cubicBezTo>
                    <a:lnTo>
                      <a:pt x="174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1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D0C4B"/>
                  </a:solidFill>
                  <a:effectLst/>
                  <a:uLnTx/>
                  <a:uFillTx/>
                  <a:sym typeface="Arial"/>
                </a:endParaRPr>
              </a:p>
            </p:txBody>
          </p:sp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id="{21ACB5F4-5A8A-4C76-B659-9C2EF5BDD9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5646" y="435864"/>
                <a:ext cx="108836" cy="130025"/>
              </a:xfrm>
              <a:custGeom>
                <a:avLst/>
                <a:gdLst>
                  <a:gd name="T0" fmla="*/ 90 w 161"/>
                  <a:gd name="T1" fmla="*/ 78 h 192"/>
                  <a:gd name="T2" fmla="*/ 46 w 161"/>
                  <a:gd name="T3" fmla="*/ 56 h 192"/>
                  <a:gd name="T4" fmla="*/ 83 w 161"/>
                  <a:gd name="T5" fmla="*/ 36 h 192"/>
                  <a:gd name="T6" fmla="*/ 139 w 161"/>
                  <a:gd name="T7" fmla="*/ 49 h 192"/>
                  <a:gd name="T8" fmla="*/ 140 w 161"/>
                  <a:gd name="T9" fmla="*/ 49 h 192"/>
                  <a:gd name="T10" fmla="*/ 145 w 161"/>
                  <a:gd name="T11" fmla="*/ 47 h 192"/>
                  <a:gd name="T12" fmla="*/ 156 w 161"/>
                  <a:gd name="T13" fmla="*/ 25 h 192"/>
                  <a:gd name="T14" fmla="*/ 156 w 161"/>
                  <a:gd name="T15" fmla="*/ 23 h 192"/>
                  <a:gd name="T16" fmla="*/ 153 w 161"/>
                  <a:gd name="T17" fmla="*/ 18 h 192"/>
                  <a:gd name="T18" fmla="*/ 152 w 161"/>
                  <a:gd name="T19" fmla="*/ 17 h 192"/>
                  <a:gd name="T20" fmla="*/ 81 w 161"/>
                  <a:gd name="T21" fmla="*/ 0 h 192"/>
                  <a:gd name="T22" fmla="*/ 7 w 161"/>
                  <a:gd name="T23" fmla="*/ 57 h 192"/>
                  <a:gd name="T24" fmla="*/ 25 w 161"/>
                  <a:gd name="T25" fmla="*/ 96 h 192"/>
                  <a:gd name="T26" fmla="*/ 80 w 161"/>
                  <a:gd name="T27" fmla="*/ 113 h 192"/>
                  <a:gd name="T28" fmla="*/ 122 w 161"/>
                  <a:gd name="T29" fmla="*/ 133 h 192"/>
                  <a:gd name="T30" fmla="*/ 78 w 161"/>
                  <a:gd name="T31" fmla="*/ 157 h 192"/>
                  <a:gd name="T32" fmla="*/ 22 w 161"/>
                  <a:gd name="T33" fmla="*/ 142 h 192"/>
                  <a:gd name="T34" fmla="*/ 18 w 161"/>
                  <a:gd name="T35" fmla="*/ 139 h 192"/>
                  <a:gd name="T36" fmla="*/ 15 w 161"/>
                  <a:gd name="T37" fmla="*/ 143 h 192"/>
                  <a:gd name="T38" fmla="*/ 2 w 161"/>
                  <a:gd name="T39" fmla="*/ 166 h 192"/>
                  <a:gd name="T40" fmla="*/ 0 w 161"/>
                  <a:gd name="T41" fmla="*/ 170 h 192"/>
                  <a:gd name="T42" fmla="*/ 4 w 161"/>
                  <a:gd name="T43" fmla="*/ 172 h 192"/>
                  <a:gd name="T44" fmla="*/ 77 w 161"/>
                  <a:gd name="T45" fmla="*/ 192 h 192"/>
                  <a:gd name="T46" fmla="*/ 161 w 161"/>
                  <a:gd name="T47" fmla="*/ 132 h 192"/>
                  <a:gd name="T48" fmla="*/ 90 w 161"/>
                  <a:gd name="T49" fmla="*/ 78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61" h="192">
                    <a:moveTo>
                      <a:pt x="90" y="78"/>
                    </a:moveTo>
                    <a:cubicBezTo>
                      <a:pt x="63" y="74"/>
                      <a:pt x="46" y="71"/>
                      <a:pt x="46" y="56"/>
                    </a:cubicBezTo>
                    <a:cubicBezTo>
                      <a:pt x="46" y="43"/>
                      <a:pt x="60" y="36"/>
                      <a:pt x="83" y="36"/>
                    </a:cubicBezTo>
                    <a:cubicBezTo>
                      <a:pt x="109" y="36"/>
                      <a:pt x="130" y="45"/>
                      <a:pt x="139" y="49"/>
                    </a:cubicBezTo>
                    <a:cubicBezTo>
                      <a:pt x="139" y="49"/>
                      <a:pt x="139" y="49"/>
                      <a:pt x="140" y="49"/>
                    </a:cubicBezTo>
                    <a:cubicBezTo>
                      <a:pt x="142" y="49"/>
                      <a:pt x="144" y="49"/>
                      <a:pt x="145" y="47"/>
                    </a:cubicBezTo>
                    <a:cubicBezTo>
                      <a:pt x="156" y="25"/>
                      <a:pt x="156" y="25"/>
                      <a:pt x="156" y="25"/>
                    </a:cubicBezTo>
                    <a:cubicBezTo>
                      <a:pt x="156" y="24"/>
                      <a:pt x="156" y="23"/>
                      <a:pt x="156" y="23"/>
                    </a:cubicBezTo>
                    <a:cubicBezTo>
                      <a:pt x="156" y="21"/>
                      <a:pt x="155" y="19"/>
                      <a:pt x="153" y="18"/>
                    </a:cubicBezTo>
                    <a:cubicBezTo>
                      <a:pt x="152" y="17"/>
                      <a:pt x="152" y="17"/>
                      <a:pt x="152" y="17"/>
                    </a:cubicBezTo>
                    <a:cubicBezTo>
                      <a:pt x="133" y="7"/>
                      <a:pt x="106" y="0"/>
                      <a:pt x="81" y="0"/>
                    </a:cubicBezTo>
                    <a:cubicBezTo>
                      <a:pt x="35" y="0"/>
                      <a:pt x="7" y="22"/>
                      <a:pt x="7" y="57"/>
                    </a:cubicBezTo>
                    <a:cubicBezTo>
                      <a:pt x="7" y="75"/>
                      <a:pt x="13" y="87"/>
                      <a:pt x="25" y="96"/>
                    </a:cubicBezTo>
                    <a:cubicBezTo>
                      <a:pt x="40" y="107"/>
                      <a:pt x="61" y="110"/>
                      <a:pt x="80" y="113"/>
                    </a:cubicBezTo>
                    <a:cubicBezTo>
                      <a:pt x="106" y="117"/>
                      <a:pt x="122" y="119"/>
                      <a:pt x="122" y="133"/>
                    </a:cubicBezTo>
                    <a:cubicBezTo>
                      <a:pt x="122" y="155"/>
                      <a:pt x="91" y="157"/>
                      <a:pt x="78" y="157"/>
                    </a:cubicBezTo>
                    <a:cubicBezTo>
                      <a:pt x="57" y="157"/>
                      <a:pt x="38" y="152"/>
                      <a:pt x="22" y="142"/>
                    </a:cubicBezTo>
                    <a:cubicBezTo>
                      <a:pt x="18" y="139"/>
                      <a:pt x="18" y="139"/>
                      <a:pt x="18" y="139"/>
                    </a:cubicBezTo>
                    <a:cubicBezTo>
                      <a:pt x="15" y="143"/>
                      <a:pt x="15" y="143"/>
                      <a:pt x="15" y="143"/>
                    </a:cubicBezTo>
                    <a:cubicBezTo>
                      <a:pt x="2" y="166"/>
                      <a:pt x="2" y="166"/>
                      <a:pt x="2" y="166"/>
                    </a:cubicBezTo>
                    <a:cubicBezTo>
                      <a:pt x="0" y="170"/>
                      <a:pt x="0" y="170"/>
                      <a:pt x="0" y="170"/>
                    </a:cubicBezTo>
                    <a:cubicBezTo>
                      <a:pt x="4" y="172"/>
                      <a:pt x="4" y="172"/>
                      <a:pt x="4" y="172"/>
                    </a:cubicBezTo>
                    <a:cubicBezTo>
                      <a:pt x="18" y="181"/>
                      <a:pt x="42" y="192"/>
                      <a:pt x="77" y="192"/>
                    </a:cubicBezTo>
                    <a:cubicBezTo>
                      <a:pt x="128" y="192"/>
                      <a:pt x="161" y="169"/>
                      <a:pt x="161" y="132"/>
                    </a:cubicBezTo>
                    <a:cubicBezTo>
                      <a:pt x="161" y="88"/>
                      <a:pt x="122" y="82"/>
                      <a:pt x="90" y="7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1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D0C4B"/>
                  </a:solidFill>
                  <a:effectLst/>
                  <a:uLnTx/>
                  <a:uFillTx/>
                  <a:sym typeface="Arial"/>
                </a:endParaRPr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id="{4576B9D1-975D-4C04-A619-76FAD94DAE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2427" y="437296"/>
                <a:ext cx="93943" cy="127448"/>
              </a:xfrm>
              <a:custGeom>
                <a:avLst/>
                <a:gdLst>
                  <a:gd name="T0" fmla="*/ 128 w 139"/>
                  <a:gd name="T1" fmla="*/ 103 h 188"/>
                  <a:gd name="T2" fmla="*/ 121 w 139"/>
                  <a:gd name="T3" fmla="*/ 110 h 188"/>
                  <a:gd name="T4" fmla="*/ 38 w 139"/>
                  <a:gd name="T5" fmla="*/ 110 h 188"/>
                  <a:gd name="T6" fmla="*/ 38 w 139"/>
                  <a:gd name="T7" fmla="*/ 153 h 188"/>
                  <a:gd name="T8" fmla="*/ 139 w 139"/>
                  <a:gd name="T9" fmla="*/ 153 h 188"/>
                  <a:gd name="T10" fmla="*/ 139 w 139"/>
                  <a:gd name="T11" fmla="*/ 188 h 188"/>
                  <a:gd name="T12" fmla="*/ 0 w 139"/>
                  <a:gd name="T13" fmla="*/ 188 h 188"/>
                  <a:gd name="T14" fmla="*/ 0 w 139"/>
                  <a:gd name="T15" fmla="*/ 18 h 188"/>
                  <a:gd name="T16" fmla="*/ 19 w 139"/>
                  <a:gd name="T17" fmla="*/ 0 h 188"/>
                  <a:gd name="T18" fmla="*/ 130 w 139"/>
                  <a:gd name="T19" fmla="*/ 0 h 188"/>
                  <a:gd name="T20" fmla="*/ 137 w 139"/>
                  <a:gd name="T21" fmla="*/ 6 h 188"/>
                  <a:gd name="T22" fmla="*/ 137 w 139"/>
                  <a:gd name="T23" fmla="*/ 27 h 188"/>
                  <a:gd name="T24" fmla="*/ 130 w 139"/>
                  <a:gd name="T25" fmla="*/ 34 h 188"/>
                  <a:gd name="T26" fmla="*/ 38 w 139"/>
                  <a:gd name="T27" fmla="*/ 34 h 188"/>
                  <a:gd name="T28" fmla="*/ 38 w 139"/>
                  <a:gd name="T29" fmla="*/ 75 h 188"/>
                  <a:gd name="T30" fmla="*/ 121 w 139"/>
                  <a:gd name="T31" fmla="*/ 75 h 188"/>
                  <a:gd name="T32" fmla="*/ 128 w 139"/>
                  <a:gd name="T33" fmla="*/ 82 h 188"/>
                  <a:gd name="T34" fmla="*/ 128 w 139"/>
                  <a:gd name="T35" fmla="*/ 103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9" h="188">
                    <a:moveTo>
                      <a:pt x="128" y="103"/>
                    </a:moveTo>
                    <a:cubicBezTo>
                      <a:pt x="128" y="107"/>
                      <a:pt x="124" y="110"/>
                      <a:pt x="121" y="110"/>
                    </a:cubicBezTo>
                    <a:cubicBezTo>
                      <a:pt x="38" y="110"/>
                      <a:pt x="38" y="110"/>
                      <a:pt x="38" y="110"/>
                    </a:cubicBezTo>
                    <a:cubicBezTo>
                      <a:pt x="38" y="153"/>
                      <a:pt x="38" y="153"/>
                      <a:pt x="38" y="153"/>
                    </a:cubicBezTo>
                    <a:cubicBezTo>
                      <a:pt x="139" y="153"/>
                      <a:pt x="139" y="153"/>
                      <a:pt x="139" y="153"/>
                    </a:cubicBezTo>
                    <a:cubicBezTo>
                      <a:pt x="139" y="188"/>
                      <a:pt x="139" y="188"/>
                      <a:pt x="139" y="188"/>
                    </a:cubicBezTo>
                    <a:cubicBezTo>
                      <a:pt x="0" y="188"/>
                      <a:pt x="0" y="188"/>
                      <a:pt x="0" y="18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9" y="0"/>
                      <a:pt x="19" y="0"/>
                    </a:cubicBezTo>
                    <a:cubicBezTo>
                      <a:pt x="130" y="0"/>
                      <a:pt x="130" y="0"/>
                      <a:pt x="130" y="0"/>
                    </a:cubicBezTo>
                    <a:cubicBezTo>
                      <a:pt x="134" y="0"/>
                      <a:pt x="137" y="2"/>
                      <a:pt x="137" y="6"/>
                    </a:cubicBezTo>
                    <a:cubicBezTo>
                      <a:pt x="137" y="27"/>
                      <a:pt x="137" y="27"/>
                      <a:pt x="137" y="27"/>
                    </a:cubicBezTo>
                    <a:cubicBezTo>
                      <a:pt x="137" y="32"/>
                      <a:pt x="134" y="34"/>
                      <a:pt x="130" y="34"/>
                    </a:cubicBezTo>
                    <a:cubicBezTo>
                      <a:pt x="38" y="34"/>
                      <a:pt x="38" y="34"/>
                      <a:pt x="38" y="34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121" y="75"/>
                      <a:pt x="121" y="75"/>
                      <a:pt x="121" y="75"/>
                    </a:cubicBezTo>
                    <a:cubicBezTo>
                      <a:pt x="124" y="75"/>
                      <a:pt x="128" y="77"/>
                      <a:pt x="128" y="82"/>
                    </a:cubicBezTo>
                    <a:lnTo>
                      <a:pt x="128" y="10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31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D0C4B"/>
                  </a:solidFill>
                  <a:effectLst/>
                  <a:uLnTx/>
                  <a:uFillTx/>
                  <a:sym typeface="Arial"/>
                </a:endParaRPr>
              </a:p>
            </p:txBody>
          </p:sp>
        </p:grpSp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CA4346AC-FA60-4C02-8800-09C27E9B8F51}"/>
              </a:ext>
            </a:extLst>
          </p:cNvPr>
          <p:cNvSpPr/>
          <p:nvPr/>
        </p:nvSpPr>
        <p:spPr>
          <a:xfrm>
            <a:off x="7632340" y="170515"/>
            <a:ext cx="125098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1200" dirty="0">
                <a:solidFill>
                  <a:schemeClr val="bg1"/>
                </a:solidFill>
                <a:latin typeface="Gotham Light" pitchFamily="2" charset="0"/>
              </a:rPr>
              <a:t>#KIDSTHESEDAYS</a:t>
            </a:r>
            <a:endParaRPr lang="en-US" sz="1200" dirty="0">
              <a:latin typeface="Gotham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09869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B1F5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B6CAE69B-986A-D440-AC19-1D3AF1FFDA2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1877"/>
          <a:stretch/>
        </p:blipFill>
        <p:spPr>
          <a:xfrm>
            <a:off x="-1" y="0"/>
            <a:ext cx="6444210" cy="5143500"/>
          </a:xfrm>
          <a:prstGeom prst="rect">
            <a:avLst/>
          </a:prstGeom>
        </p:spPr>
      </p:pic>
      <p:graphicFrame>
        <p:nvGraphicFramePr>
          <p:cNvPr id="3" name="Chart Placeholder 17">
            <a:extLst>
              <a:ext uri="{FF2B5EF4-FFF2-40B4-BE49-F238E27FC236}">
                <a16:creationId xmlns:a16="http://schemas.microsoft.com/office/drawing/2014/main" id="{928AAA90-E7D3-4C2A-A1C4-6E9E1C41EF2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48202613"/>
              </p:ext>
            </p:extLst>
          </p:nvPr>
        </p:nvGraphicFramePr>
        <p:xfrm>
          <a:off x="2949696" y="159482"/>
          <a:ext cx="6120680" cy="49970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84A88B20-C94D-41A8-91AB-B7CB522BDF44}"/>
              </a:ext>
            </a:extLst>
          </p:cNvPr>
          <p:cNvSpPr txBox="1"/>
          <p:nvPr/>
        </p:nvSpPr>
        <p:spPr>
          <a:xfrm>
            <a:off x="360000" y="4585960"/>
            <a:ext cx="2807844" cy="2046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60"/>
            <a:r>
              <a:rPr lang="en-IE" sz="730" dirty="0">
                <a:solidFill>
                  <a:srgbClr val="FFFFFF"/>
                </a:solidFill>
                <a:latin typeface="Arial"/>
              </a:rPr>
              <a:t>Which of the following activities did you do yesterday? N=300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0188BE5-994A-3C40-95DB-7D420A1CA11F}"/>
              </a:ext>
            </a:extLst>
          </p:cNvPr>
          <p:cNvSpPr/>
          <p:nvPr/>
        </p:nvSpPr>
        <p:spPr>
          <a:xfrm>
            <a:off x="358775" y="346961"/>
            <a:ext cx="421322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160"/>
            <a:r>
              <a:rPr lang="en-IE" sz="1600" b="1" dirty="0">
                <a:solidFill>
                  <a:srgbClr val="FFFFFF"/>
                </a:solidFill>
                <a:latin typeface="Gotham Book" panose="02000504050000020004" pitchFamily="2" charset="0"/>
              </a:rPr>
              <a:t>WHAT IS THE TOP REACHING MEDIUM </a:t>
            </a:r>
            <a:br>
              <a:rPr lang="en-IE" sz="1600" b="1" dirty="0">
                <a:solidFill>
                  <a:srgbClr val="FFFFFF"/>
                </a:solidFill>
                <a:latin typeface="Gotham Book" panose="02000504050000020004" pitchFamily="2" charset="0"/>
              </a:rPr>
            </a:br>
            <a:r>
              <a:rPr lang="en-IE" sz="1600" b="1" dirty="0">
                <a:solidFill>
                  <a:srgbClr val="FFFFFF"/>
                </a:solidFill>
                <a:latin typeface="Gotham Book" panose="02000504050000020004" pitchFamily="2" charset="0"/>
              </a:rPr>
              <a:t>FOR 12-17 YEAR OLDS? </a:t>
            </a:r>
            <a:endParaRPr lang="en-US" sz="1600" b="1" dirty="0">
              <a:solidFill>
                <a:srgbClr val="FFFFFF"/>
              </a:solidFill>
              <a:latin typeface="Gotham Book" panose="02000504050000020004" pitchFamily="2" charset="0"/>
            </a:endParaRPr>
          </a:p>
        </p:txBody>
      </p:sp>
      <p:sp>
        <p:nvSpPr>
          <p:cNvPr id="9" name="Frame 8">
            <a:extLst>
              <a:ext uri="{FF2B5EF4-FFF2-40B4-BE49-F238E27FC236}">
                <a16:creationId xmlns:a16="http://schemas.microsoft.com/office/drawing/2014/main" id="{C469D0FE-A111-6548-A49D-97F0D4530E2B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frame">
            <a:avLst>
              <a:gd name="adj1" fmla="val 194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60"/>
            <a:endParaRPr lang="en-US" sz="1800" dirty="0">
              <a:solidFill>
                <a:srgbClr val="2D0C4B"/>
              </a:solidFill>
              <a:latin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3ED755C-22FE-4F6B-B0A8-84A2E37ACAFA}"/>
              </a:ext>
            </a:extLst>
          </p:cNvPr>
          <p:cNvSpPr txBox="1"/>
          <p:nvPr/>
        </p:nvSpPr>
        <p:spPr>
          <a:xfrm>
            <a:off x="6408204" y="116129"/>
            <a:ext cx="241226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60"/>
            <a:r>
              <a:rPr lang="en-IE" sz="900" b="1" dirty="0">
                <a:solidFill>
                  <a:srgbClr val="00A8E2"/>
                </a:solidFill>
                <a:latin typeface="Gotham Book" panose="02000504050000020004" pitchFamily="2" charset="0"/>
              </a:rPr>
              <a:t>TEENAGERS: DAILY MEDIA REACH</a:t>
            </a:r>
          </a:p>
        </p:txBody>
      </p:sp>
    </p:spTree>
    <p:extLst>
      <p:ext uri="{BB962C8B-B14F-4D97-AF65-F5344CB8AC3E}">
        <p14:creationId xmlns:p14="http://schemas.microsoft.com/office/powerpoint/2010/main" val="39884469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LECTEDLANGUAGE" val="English UK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 FRAMEWORK TEMPLATE">
  <a:themeElements>
    <a:clrScheme name="Custom 592">
      <a:dk1>
        <a:srgbClr val="2D0C4B"/>
      </a:dk1>
      <a:lt1>
        <a:srgbClr val="FFFFFF"/>
      </a:lt1>
      <a:dk2>
        <a:srgbClr val="4D4D4D"/>
      </a:dk2>
      <a:lt2>
        <a:srgbClr val="FFFFFF"/>
      </a:lt2>
      <a:accent1>
        <a:srgbClr val="791C99"/>
      </a:accent1>
      <a:accent2>
        <a:srgbClr val="382FA9"/>
      </a:accent2>
      <a:accent3>
        <a:srgbClr val="32ADFF"/>
      </a:accent3>
      <a:accent4>
        <a:srgbClr val="DD2858"/>
      </a:accent4>
      <a:accent5>
        <a:srgbClr val="A0C516"/>
      </a:accent5>
      <a:accent6>
        <a:srgbClr val="FFDC00"/>
      </a:accent6>
      <a:hlink>
        <a:srgbClr val="32ADFF"/>
      </a:hlink>
      <a:folHlink>
        <a:srgbClr val="7F7F7F"/>
      </a:folHlink>
    </a:clrScheme>
    <a:fontScheme name="Mindshar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indShare">
      <a:fillStyleLst>
        <a:solidFill>
          <a:schemeClr val="phClr"/>
        </a:solidFill>
        <a:gradFill rotWithShape="1">
          <a:gsLst>
            <a:gs pos="0">
              <a:schemeClr val="phClr">
                <a:shade val="60000"/>
                <a:satMod val="115000"/>
              </a:schemeClr>
            </a:gs>
            <a:gs pos="71000">
              <a:schemeClr val="phClr">
                <a:tint val="100000"/>
                <a:satMod val="115000"/>
              </a:schemeClr>
            </a:gs>
            <a:gs pos="100000">
              <a:schemeClr val="phClr">
                <a:tint val="85000"/>
                <a:satMod val="11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atMod val="150000"/>
              </a:schemeClr>
            </a:gs>
            <a:gs pos="100000">
              <a:schemeClr val="phClr">
                <a:shade val="40000"/>
                <a:satMod val="135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127000" dir="5400000" sx="102000" sy="102000" algn="ctr" rotWithShape="0">
              <a:srgbClr val="000000">
                <a:alpha val="50000"/>
              </a:srgbClr>
            </a:outerShdw>
          </a:effectLst>
        </a:effectStyle>
        <a:effectStyle>
          <a:effectLst>
            <a:innerShdw blurRad="50800" dist="25400">
              <a:srgbClr val="2A0C4B">
                <a:alpha val="50000"/>
              </a:srgbClr>
            </a:innerShdw>
          </a:effectLst>
          <a:scene3d>
            <a:camera prst="orthographicFront">
              <a:rot lat="0" lon="0" rev="0"/>
            </a:camera>
            <a:lightRig rig="soft" dir="t">
              <a:rot lat="0" lon="0" rev="20100000"/>
            </a:lightRig>
          </a:scene3d>
          <a:sp3d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rgbClr val="2D0C4B"/>
            </a:gs>
            <a:gs pos="53000">
              <a:srgbClr val="431161"/>
            </a:gs>
            <a:gs pos="100000">
              <a:srgbClr val="731B91"/>
            </a:gs>
          </a:gsLst>
          <a:lin ang="3096000" scaled="0"/>
        </a:gradFill>
        <a:gradFill rotWithShape="1">
          <a:gsLst>
            <a:gs pos="0">
              <a:srgbClr val="2D0C4B"/>
            </a:gs>
            <a:gs pos="66000">
              <a:srgbClr val="36218B"/>
            </a:gs>
            <a:gs pos="100000">
              <a:srgbClr val="3F37CF"/>
            </a:gs>
          </a:gsLst>
          <a:lin ang="3096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GroupM">
  <a:themeElements>
    <a:clrScheme name="GroupM">
      <a:dk1>
        <a:srgbClr val="0A2756"/>
      </a:dk1>
      <a:lt1>
        <a:sysClr val="window" lastClr="FFFFFF"/>
      </a:lt1>
      <a:dk2>
        <a:srgbClr val="000000"/>
      </a:dk2>
      <a:lt2>
        <a:srgbClr val="B9B9B9"/>
      </a:lt2>
      <a:accent1>
        <a:srgbClr val="0080FF"/>
      </a:accent1>
      <a:accent2>
        <a:srgbClr val="FFB32C"/>
      </a:accent2>
      <a:accent3>
        <a:srgbClr val="F47F64"/>
      </a:accent3>
      <a:accent4>
        <a:srgbClr val="87CB9C"/>
      </a:accent4>
      <a:accent5>
        <a:srgbClr val="C590C0"/>
      </a:accent5>
      <a:accent6>
        <a:srgbClr val="77B0DD"/>
      </a:accent6>
      <a:hlink>
        <a:srgbClr val="0080FF"/>
      </a:hlink>
      <a:folHlink>
        <a:srgbClr val="B766C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 anchorCtr="0"/>
      <a:lstStyle>
        <a:defPPr algn="l">
          <a:defRPr sz="1200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spcAft>
            <a:spcPts val="600"/>
          </a:spcAft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3" id="{D49F99EF-9716-BC49-B28B-0D670CD3AA06}" vid="{281CF3E9-2862-BB43-B7F4-B25A87FA0BD8}"/>
    </a:ext>
  </a:extLst>
</a:theme>
</file>

<file path=ppt/theme/theme3.xml><?xml version="1.0" encoding="utf-8"?>
<a:theme xmlns:a="http://schemas.openxmlformats.org/drawingml/2006/main" name="1_NEW FRAMEWORK TEMPLATE">
  <a:themeElements>
    <a:clrScheme name="Custom 592">
      <a:dk1>
        <a:srgbClr val="2D0C4B"/>
      </a:dk1>
      <a:lt1>
        <a:srgbClr val="FFFFFF"/>
      </a:lt1>
      <a:dk2>
        <a:srgbClr val="4D4D4D"/>
      </a:dk2>
      <a:lt2>
        <a:srgbClr val="FFFFFF"/>
      </a:lt2>
      <a:accent1>
        <a:srgbClr val="791C99"/>
      </a:accent1>
      <a:accent2>
        <a:srgbClr val="382FA9"/>
      </a:accent2>
      <a:accent3>
        <a:srgbClr val="32ADFF"/>
      </a:accent3>
      <a:accent4>
        <a:srgbClr val="DD2858"/>
      </a:accent4>
      <a:accent5>
        <a:srgbClr val="A0C516"/>
      </a:accent5>
      <a:accent6>
        <a:srgbClr val="FFDC00"/>
      </a:accent6>
      <a:hlink>
        <a:srgbClr val="32ADFF"/>
      </a:hlink>
      <a:folHlink>
        <a:srgbClr val="7F7F7F"/>
      </a:folHlink>
    </a:clrScheme>
    <a:fontScheme name="Mindshar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indShare">
      <a:fillStyleLst>
        <a:solidFill>
          <a:schemeClr val="phClr"/>
        </a:solidFill>
        <a:gradFill rotWithShape="1">
          <a:gsLst>
            <a:gs pos="0">
              <a:schemeClr val="phClr">
                <a:shade val="60000"/>
                <a:satMod val="115000"/>
              </a:schemeClr>
            </a:gs>
            <a:gs pos="71000">
              <a:schemeClr val="phClr">
                <a:tint val="100000"/>
                <a:satMod val="115000"/>
              </a:schemeClr>
            </a:gs>
            <a:gs pos="100000">
              <a:schemeClr val="phClr">
                <a:tint val="85000"/>
                <a:satMod val="11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atMod val="150000"/>
              </a:schemeClr>
            </a:gs>
            <a:gs pos="100000">
              <a:schemeClr val="phClr">
                <a:shade val="40000"/>
                <a:satMod val="135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127000" dir="5400000" sx="102000" sy="102000" algn="ctr" rotWithShape="0">
              <a:srgbClr val="000000">
                <a:alpha val="50000"/>
              </a:srgbClr>
            </a:outerShdw>
          </a:effectLst>
        </a:effectStyle>
        <a:effectStyle>
          <a:effectLst>
            <a:innerShdw blurRad="50800" dist="25400">
              <a:srgbClr val="2A0C4B">
                <a:alpha val="50000"/>
              </a:srgbClr>
            </a:innerShdw>
          </a:effectLst>
          <a:scene3d>
            <a:camera prst="orthographicFront">
              <a:rot lat="0" lon="0" rev="0"/>
            </a:camera>
            <a:lightRig rig="soft" dir="t">
              <a:rot lat="0" lon="0" rev="20100000"/>
            </a:lightRig>
          </a:scene3d>
          <a:sp3d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rgbClr val="2D0C4B"/>
            </a:gs>
            <a:gs pos="53000">
              <a:srgbClr val="431161"/>
            </a:gs>
            <a:gs pos="100000">
              <a:srgbClr val="731B91"/>
            </a:gs>
          </a:gsLst>
          <a:lin ang="3096000" scaled="0"/>
        </a:gradFill>
        <a:gradFill rotWithShape="1">
          <a:gsLst>
            <a:gs pos="0">
              <a:srgbClr val="2D0C4B"/>
            </a:gs>
            <a:gs pos="66000">
              <a:srgbClr val="36218B"/>
            </a:gs>
            <a:gs pos="100000">
              <a:srgbClr val="3F37CF"/>
            </a:gs>
          </a:gsLst>
          <a:lin ang="3096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2_NEW FRAMEWORK TEMPLATE">
  <a:themeElements>
    <a:clrScheme name="Custom 592">
      <a:dk1>
        <a:srgbClr val="2D0C4B"/>
      </a:dk1>
      <a:lt1>
        <a:srgbClr val="FFFFFF"/>
      </a:lt1>
      <a:dk2>
        <a:srgbClr val="4D4D4D"/>
      </a:dk2>
      <a:lt2>
        <a:srgbClr val="FFFFFF"/>
      </a:lt2>
      <a:accent1>
        <a:srgbClr val="791C99"/>
      </a:accent1>
      <a:accent2>
        <a:srgbClr val="382FA9"/>
      </a:accent2>
      <a:accent3>
        <a:srgbClr val="32ADFF"/>
      </a:accent3>
      <a:accent4>
        <a:srgbClr val="DD2858"/>
      </a:accent4>
      <a:accent5>
        <a:srgbClr val="A0C516"/>
      </a:accent5>
      <a:accent6>
        <a:srgbClr val="FFDC00"/>
      </a:accent6>
      <a:hlink>
        <a:srgbClr val="32ADFF"/>
      </a:hlink>
      <a:folHlink>
        <a:srgbClr val="7F7F7F"/>
      </a:folHlink>
    </a:clrScheme>
    <a:fontScheme name="Mindshar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indShare">
      <a:fillStyleLst>
        <a:solidFill>
          <a:schemeClr val="phClr"/>
        </a:solidFill>
        <a:gradFill rotWithShape="1">
          <a:gsLst>
            <a:gs pos="0">
              <a:schemeClr val="phClr">
                <a:shade val="60000"/>
                <a:satMod val="115000"/>
              </a:schemeClr>
            </a:gs>
            <a:gs pos="71000">
              <a:schemeClr val="phClr">
                <a:tint val="100000"/>
                <a:satMod val="115000"/>
              </a:schemeClr>
            </a:gs>
            <a:gs pos="100000">
              <a:schemeClr val="phClr">
                <a:tint val="85000"/>
                <a:satMod val="11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atMod val="150000"/>
              </a:schemeClr>
            </a:gs>
            <a:gs pos="100000">
              <a:schemeClr val="phClr">
                <a:shade val="40000"/>
                <a:satMod val="135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127000" dir="5400000" sx="102000" sy="102000" algn="ctr" rotWithShape="0">
              <a:srgbClr val="000000">
                <a:alpha val="50000"/>
              </a:srgbClr>
            </a:outerShdw>
          </a:effectLst>
        </a:effectStyle>
        <a:effectStyle>
          <a:effectLst>
            <a:innerShdw blurRad="50800" dist="25400">
              <a:srgbClr val="2A0C4B">
                <a:alpha val="50000"/>
              </a:srgbClr>
            </a:innerShdw>
          </a:effectLst>
          <a:scene3d>
            <a:camera prst="orthographicFront">
              <a:rot lat="0" lon="0" rev="0"/>
            </a:camera>
            <a:lightRig rig="soft" dir="t">
              <a:rot lat="0" lon="0" rev="20100000"/>
            </a:lightRig>
          </a:scene3d>
          <a:sp3d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rgbClr val="2D0C4B"/>
            </a:gs>
            <a:gs pos="53000">
              <a:srgbClr val="431161"/>
            </a:gs>
            <a:gs pos="100000">
              <a:srgbClr val="731B91"/>
            </a:gs>
          </a:gsLst>
          <a:lin ang="3096000" scaled="0"/>
        </a:gradFill>
        <a:gradFill rotWithShape="1">
          <a:gsLst>
            <a:gs pos="0">
              <a:srgbClr val="2D0C4B"/>
            </a:gs>
            <a:gs pos="66000">
              <a:srgbClr val="36218B"/>
            </a:gs>
            <a:gs pos="100000">
              <a:srgbClr val="3F37CF"/>
            </a:gs>
          </a:gsLst>
          <a:lin ang="3096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Mindshare">
      <a:dk1>
        <a:srgbClr val="2D0C4B"/>
      </a:dk1>
      <a:lt1>
        <a:srgbClr val="FFFFFF"/>
      </a:lt1>
      <a:dk2>
        <a:srgbClr val="2D0C4B"/>
      </a:dk2>
      <a:lt2>
        <a:srgbClr val="C3BCAF"/>
      </a:lt2>
      <a:accent1>
        <a:srgbClr val="32ADFF"/>
      </a:accent1>
      <a:accent2>
        <a:srgbClr val="C31C68"/>
      </a:accent2>
      <a:accent3>
        <a:srgbClr val="86B144"/>
      </a:accent3>
      <a:accent4>
        <a:srgbClr val="FA0F3A"/>
      </a:accent4>
      <a:accent5>
        <a:srgbClr val="791C99"/>
      </a:accent5>
      <a:accent6>
        <a:srgbClr val="F8CD37"/>
      </a:accent6>
      <a:hlink>
        <a:srgbClr val="A3915A"/>
      </a:hlink>
      <a:folHlink>
        <a:srgbClr val="5A5A64"/>
      </a:folHlink>
    </a:clrScheme>
    <a:fontScheme name="MindShar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indShare">
      <a:fillStyleLst>
        <a:solidFill>
          <a:schemeClr val="phClr"/>
        </a:solidFill>
        <a:gradFill rotWithShape="1">
          <a:gsLst>
            <a:gs pos="0">
              <a:schemeClr val="phClr">
                <a:shade val="60000"/>
                <a:satMod val="115000"/>
              </a:schemeClr>
            </a:gs>
            <a:gs pos="71000">
              <a:schemeClr val="phClr">
                <a:tint val="100000"/>
                <a:satMod val="115000"/>
              </a:schemeClr>
            </a:gs>
            <a:gs pos="100000">
              <a:schemeClr val="phClr">
                <a:tint val="85000"/>
                <a:satMod val="11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atMod val="150000"/>
              </a:schemeClr>
            </a:gs>
            <a:gs pos="100000">
              <a:schemeClr val="phClr">
                <a:shade val="40000"/>
                <a:satMod val="135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127000" dir="5400000" sx="102000" sy="102000" algn="ctr" rotWithShape="0">
              <a:srgbClr val="000000">
                <a:alpha val="50000"/>
              </a:srgbClr>
            </a:outerShdw>
          </a:effectLst>
        </a:effectStyle>
        <a:effectStyle>
          <a:effectLst>
            <a:innerShdw blurRad="50800" dist="25400">
              <a:srgbClr val="2A0C4B">
                <a:alpha val="50000"/>
              </a:srgbClr>
            </a:innerShdw>
          </a:effectLst>
          <a:scene3d>
            <a:camera prst="orthographicFront">
              <a:rot lat="0" lon="0" rev="0"/>
            </a:camera>
            <a:lightRig rig="soft" dir="t">
              <a:rot lat="0" lon="0" rev="20100000"/>
            </a:lightRig>
          </a:scene3d>
          <a:sp3d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Mindshare">
      <a:dk1>
        <a:srgbClr val="2D0C4B"/>
      </a:dk1>
      <a:lt1>
        <a:srgbClr val="FFFFFF"/>
      </a:lt1>
      <a:dk2>
        <a:srgbClr val="2D0C4B"/>
      </a:dk2>
      <a:lt2>
        <a:srgbClr val="C3BCAF"/>
      </a:lt2>
      <a:accent1>
        <a:srgbClr val="32ADFF"/>
      </a:accent1>
      <a:accent2>
        <a:srgbClr val="C31C68"/>
      </a:accent2>
      <a:accent3>
        <a:srgbClr val="86B144"/>
      </a:accent3>
      <a:accent4>
        <a:srgbClr val="FA0F3A"/>
      </a:accent4>
      <a:accent5>
        <a:srgbClr val="791C99"/>
      </a:accent5>
      <a:accent6>
        <a:srgbClr val="F8CD37"/>
      </a:accent6>
      <a:hlink>
        <a:srgbClr val="A3915A"/>
      </a:hlink>
      <a:folHlink>
        <a:srgbClr val="5A5A64"/>
      </a:folHlink>
    </a:clrScheme>
    <a:fontScheme name="Mindshar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indShare">
      <a:fillStyleLst>
        <a:solidFill>
          <a:schemeClr val="phClr"/>
        </a:solidFill>
        <a:gradFill rotWithShape="1">
          <a:gsLst>
            <a:gs pos="0">
              <a:schemeClr val="phClr">
                <a:shade val="60000"/>
                <a:satMod val="115000"/>
              </a:schemeClr>
            </a:gs>
            <a:gs pos="71000">
              <a:schemeClr val="phClr">
                <a:tint val="100000"/>
                <a:satMod val="115000"/>
              </a:schemeClr>
            </a:gs>
            <a:gs pos="100000">
              <a:schemeClr val="phClr">
                <a:tint val="85000"/>
                <a:satMod val="11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atMod val="150000"/>
              </a:schemeClr>
            </a:gs>
            <a:gs pos="100000">
              <a:schemeClr val="phClr">
                <a:shade val="40000"/>
                <a:satMod val="135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127000" dir="5400000" sx="102000" sy="102000" algn="ctr" rotWithShape="0">
              <a:srgbClr val="000000">
                <a:alpha val="50000"/>
              </a:srgbClr>
            </a:outerShdw>
          </a:effectLst>
        </a:effectStyle>
        <a:effectStyle>
          <a:effectLst>
            <a:innerShdw blurRad="50800" dist="25400">
              <a:srgbClr val="2A0C4B">
                <a:alpha val="50000"/>
              </a:srgbClr>
            </a:innerShdw>
          </a:effectLst>
          <a:scene3d>
            <a:camera prst="orthographicFront">
              <a:rot lat="0" lon="0" rev="0"/>
            </a:camera>
            <a:lightRig rig="soft" dir="t">
              <a:rot lat="0" lon="0" rev="20100000"/>
            </a:lightRig>
          </a:scene3d>
          <a:sp3d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Custom 592">
    <a:dk1>
      <a:srgbClr val="2D0C4B"/>
    </a:dk1>
    <a:lt1>
      <a:srgbClr val="FFFFFF"/>
    </a:lt1>
    <a:dk2>
      <a:srgbClr val="4D4D4D"/>
    </a:dk2>
    <a:lt2>
      <a:srgbClr val="FFFFFF"/>
    </a:lt2>
    <a:accent1>
      <a:srgbClr val="791C99"/>
    </a:accent1>
    <a:accent2>
      <a:srgbClr val="382FA9"/>
    </a:accent2>
    <a:accent3>
      <a:srgbClr val="32ADFF"/>
    </a:accent3>
    <a:accent4>
      <a:srgbClr val="DD2858"/>
    </a:accent4>
    <a:accent5>
      <a:srgbClr val="A0C516"/>
    </a:accent5>
    <a:accent6>
      <a:srgbClr val="FFDC00"/>
    </a:accent6>
    <a:hlink>
      <a:srgbClr val="32ADFF"/>
    </a:hlink>
    <a:folHlink>
      <a:srgbClr val="7F7F7F"/>
    </a:folHlink>
  </a:clrScheme>
  <a:fontScheme name="Mindshare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MindShare">
    <a:fillStyleLst>
      <a:solidFill>
        <a:schemeClr val="phClr"/>
      </a:solidFill>
      <a:gradFill rotWithShape="1">
        <a:gsLst>
          <a:gs pos="0">
            <a:schemeClr val="phClr">
              <a:shade val="60000"/>
              <a:satMod val="115000"/>
            </a:schemeClr>
          </a:gs>
          <a:gs pos="71000">
            <a:schemeClr val="phClr">
              <a:tint val="100000"/>
              <a:satMod val="115000"/>
            </a:schemeClr>
          </a:gs>
          <a:gs pos="100000">
            <a:schemeClr val="phClr">
              <a:tint val="85000"/>
              <a:satMod val="115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atMod val="150000"/>
            </a:schemeClr>
          </a:gs>
          <a:gs pos="100000">
            <a:schemeClr val="phClr">
              <a:shade val="40000"/>
              <a:satMod val="135000"/>
            </a:schemeClr>
          </a:gs>
        </a:gsLst>
        <a:lin ang="5400000" scaled="0"/>
      </a:gradFill>
    </a:fillStyleLst>
    <a:lnStyleLst>
      <a:ln w="12700" cap="flat" cmpd="sng" algn="ctr">
        <a:solidFill>
          <a:schemeClr val="phClr">
            <a:shade val="95000"/>
            <a:satMod val="105000"/>
          </a:schemeClr>
        </a:solidFill>
        <a:prstDash val="solid"/>
      </a:ln>
      <a:ln w="0" cap="flat" cmpd="sng" algn="ctr">
        <a:solidFill>
          <a:schemeClr val="phClr"/>
        </a:solidFill>
        <a:prstDash val="solid"/>
      </a:ln>
      <a:ln w="25400" cap="flat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>
          <a:outerShdw blurRad="127000" dir="5400000" sx="102000" sy="102000" algn="ctr" rotWithShape="0">
            <a:srgbClr val="000000">
              <a:alpha val="50000"/>
            </a:srgbClr>
          </a:outerShdw>
        </a:effectLst>
      </a:effectStyle>
      <a:effectStyle>
        <a:effectLst>
          <a:innerShdw blurRad="50800" dist="25400">
            <a:srgbClr val="2A0C4B">
              <a:alpha val="50000"/>
            </a:srgbClr>
          </a:innerShdw>
        </a:effectLst>
        <a:scene3d>
          <a:camera prst="orthographicFront">
            <a:rot lat="0" lon="0" rev="0"/>
          </a:camera>
          <a:lightRig rig="soft" dir="t">
            <a:rot lat="0" lon="0" rev="20100000"/>
          </a:lightRig>
        </a:scene3d>
        <a:sp3d>
          <a:bevelT w="25400" h="25400"/>
        </a:sp3d>
      </a:effectStyle>
    </a:effectStyleLst>
    <a:bgFillStyleLst>
      <a:solidFill>
        <a:schemeClr val="phClr"/>
      </a:solidFill>
      <a:gradFill rotWithShape="1">
        <a:gsLst>
          <a:gs pos="0">
            <a:srgbClr val="2D0C4B"/>
          </a:gs>
          <a:gs pos="53000">
            <a:srgbClr val="431161"/>
          </a:gs>
          <a:gs pos="100000">
            <a:srgbClr val="731B91"/>
          </a:gs>
        </a:gsLst>
        <a:lin ang="3096000" scaled="0"/>
      </a:gradFill>
      <a:gradFill rotWithShape="1">
        <a:gsLst>
          <a:gs pos="0">
            <a:srgbClr val="2D0C4B"/>
          </a:gs>
          <a:gs pos="66000">
            <a:srgbClr val="36218B"/>
          </a:gs>
          <a:gs pos="100000">
            <a:srgbClr val="3F37CF"/>
          </a:gs>
        </a:gsLst>
        <a:lin ang="3096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GroupM">
    <a:dk1>
      <a:srgbClr val="0A2756"/>
    </a:dk1>
    <a:lt1>
      <a:sysClr val="window" lastClr="FFFFFF"/>
    </a:lt1>
    <a:dk2>
      <a:srgbClr val="000000"/>
    </a:dk2>
    <a:lt2>
      <a:srgbClr val="B9B9B9"/>
    </a:lt2>
    <a:accent1>
      <a:srgbClr val="0080FF"/>
    </a:accent1>
    <a:accent2>
      <a:srgbClr val="FFB32C"/>
    </a:accent2>
    <a:accent3>
      <a:srgbClr val="F47F64"/>
    </a:accent3>
    <a:accent4>
      <a:srgbClr val="87CB9C"/>
    </a:accent4>
    <a:accent5>
      <a:srgbClr val="C590C0"/>
    </a:accent5>
    <a:accent6>
      <a:srgbClr val="77B0DD"/>
    </a:accent6>
    <a:hlink>
      <a:srgbClr val="0080FF"/>
    </a:hlink>
    <a:folHlink>
      <a:srgbClr val="B766C2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GroupM">
    <a:dk1>
      <a:srgbClr val="0A2756"/>
    </a:dk1>
    <a:lt1>
      <a:sysClr val="window" lastClr="FFFFFF"/>
    </a:lt1>
    <a:dk2>
      <a:srgbClr val="000000"/>
    </a:dk2>
    <a:lt2>
      <a:srgbClr val="B9B9B9"/>
    </a:lt2>
    <a:accent1>
      <a:srgbClr val="0080FF"/>
    </a:accent1>
    <a:accent2>
      <a:srgbClr val="FFB32C"/>
    </a:accent2>
    <a:accent3>
      <a:srgbClr val="F47F64"/>
    </a:accent3>
    <a:accent4>
      <a:srgbClr val="87CB9C"/>
    </a:accent4>
    <a:accent5>
      <a:srgbClr val="C590C0"/>
    </a:accent5>
    <a:accent6>
      <a:srgbClr val="77B0DD"/>
    </a:accent6>
    <a:hlink>
      <a:srgbClr val="0080FF"/>
    </a:hlink>
    <a:folHlink>
      <a:srgbClr val="B766C2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GroupM">
    <a:dk1>
      <a:srgbClr val="0A2756"/>
    </a:dk1>
    <a:lt1>
      <a:sysClr val="window" lastClr="FFFFFF"/>
    </a:lt1>
    <a:dk2>
      <a:srgbClr val="000000"/>
    </a:dk2>
    <a:lt2>
      <a:srgbClr val="B9B9B9"/>
    </a:lt2>
    <a:accent1>
      <a:srgbClr val="0080FF"/>
    </a:accent1>
    <a:accent2>
      <a:srgbClr val="FFB32C"/>
    </a:accent2>
    <a:accent3>
      <a:srgbClr val="F47F64"/>
    </a:accent3>
    <a:accent4>
      <a:srgbClr val="87CB9C"/>
    </a:accent4>
    <a:accent5>
      <a:srgbClr val="C590C0"/>
    </a:accent5>
    <a:accent6>
      <a:srgbClr val="77B0DD"/>
    </a:accent6>
    <a:hlink>
      <a:srgbClr val="0080FF"/>
    </a:hlink>
    <a:folHlink>
      <a:srgbClr val="B766C2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Custom 592">
    <a:dk1>
      <a:srgbClr val="2D0C4B"/>
    </a:dk1>
    <a:lt1>
      <a:srgbClr val="FFFFFF"/>
    </a:lt1>
    <a:dk2>
      <a:srgbClr val="4D4D4D"/>
    </a:dk2>
    <a:lt2>
      <a:srgbClr val="FFFFFF"/>
    </a:lt2>
    <a:accent1>
      <a:srgbClr val="791C99"/>
    </a:accent1>
    <a:accent2>
      <a:srgbClr val="382FA9"/>
    </a:accent2>
    <a:accent3>
      <a:srgbClr val="32ADFF"/>
    </a:accent3>
    <a:accent4>
      <a:srgbClr val="DD2858"/>
    </a:accent4>
    <a:accent5>
      <a:srgbClr val="A0C516"/>
    </a:accent5>
    <a:accent6>
      <a:srgbClr val="FFDC00"/>
    </a:accent6>
    <a:hlink>
      <a:srgbClr val="32ADFF"/>
    </a:hlink>
    <a:folHlink>
      <a:srgbClr val="7F7F7F"/>
    </a:folHlink>
  </a:clrScheme>
  <a:fontScheme name="Mindshare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MindShare">
    <a:fillStyleLst>
      <a:solidFill>
        <a:schemeClr val="phClr"/>
      </a:solidFill>
      <a:gradFill rotWithShape="1">
        <a:gsLst>
          <a:gs pos="0">
            <a:schemeClr val="phClr">
              <a:shade val="60000"/>
              <a:satMod val="115000"/>
            </a:schemeClr>
          </a:gs>
          <a:gs pos="71000">
            <a:schemeClr val="phClr">
              <a:tint val="100000"/>
              <a:satMod val="115000"/>
            </a:schemeClr>
          </a:gs>
          <a:gs pos="100000">
            <a:schemeClr val="phClr">
              <a:tint val="85000"/>
              <a:satMod val="115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atMod val="150000"/>
            </a:schemeClr>
          </a:gs>
          <a:gs pos="100000">
            <a:schemeClr val="phClr">
              <a:shade val="40000"/>
              <a:satMod val="135000"/>
            </a:schemeClr>
          </a:gs>
        </a:gsLst>
        <a:lin ang="5400000" scaled="0"/>
      </a:gradFill>
    </a:fillStyleLst>
    <a:lnStyleLst>
      <a:ln w="12700" cap="flat" cmpd="sng" algn="ctr">
        <a:solidFill>
          <a:schemeClr val="phClr">
            <a:shade val="95000"/>
            <a:satMod val="105000"/>
          </a:schemeClr>
        </a:solidFill>
        <a:prstDash val="solid"/>
      </a:ln>
      <a:ln w="0" cap="flat" cmpd="sng" algn="ctr">
        <a:solidFill>
          <a:schemeClr val="phClr"/>
        </a:solidFill>
        <a:prstDash val="solid"/>
      </a:ln>
      <a:ln w="25400" cap="flat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>
          <a:outerShdw blurRad="127000" dir="5400000" sx="102000" sy="102000" algn="ctr" rotWithShape="0">
            <a:srgbClr val="000000">
              <a:alpha val="50000"/>
            </a:srgbClr>
          </a:outerShdw>
        </a:effectLst>
      </a:effectStyle>
      <a:effectStyle>
        <a:effectLst>
          <a:innerShdw blurRad="50800" dist="25400">
            <a:srgbClr val="2A0C4B">
              <a:alpha val="50000"/>
            </a:srgbClr>
          </a:innerShdw>
        </a:effectLst>
        <a:scene3d>
          <a:camera prst="orthographicFront">
            <a:rot lat="0" lon="0" rev="0"/>
          </a:camera>
          <a:lightRig rig="soft" dir="t">
            <a:rot lat="0" lon="0" rev="20100000"/>
          </a:lightRig>
        </a:scene3d>
        <a:sp3d>
          <a:bevelT w="25400" h="25400"/>
        </a:sp3d>
      </a:effectStyle>
    </a:effectStyleLst>
    <a:bgFillStyleLst>
      <a:solidFill>
        <a:schemeClr val="phClr"/>
      </a:solidFill>
      <a:gradFill rotWithShape="1">
        <a:gsLst>
          <a:gs pos="0">
            <a:srgbClr val="2D0C4B"/>
          </a:gs>
          <a:gs pos="53000">
            <a:srgbClr val="431161"/>
          </a:gs>
          <a:gs pos="100000">
            <a:srgbClr val="731B91"/>
          </a:gs>
        </a:gsLst>
        <a:lin ang="3096000" scaled="0"/>
      </a:gradFill>
      <a:gradFill rotWithShape="1">
        <a:gsLst>
          <a:gs pos="0">
            <a:srgbClr val="2D0C4B"/>
          </a:gs>
          <a:gs pos="66000">
            <a:srgbClr val="36218B"/>
          </a:gs>
          <a:gs pos="100000">
            <a:srgbClr val="3F37CF"/>
          </a:gs>
        </a:gsLst>
        <a:lin ang="3096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GroupM">
    <a:dk1>
      <a:srgbClr val="0A2756"/>
    </a:dk1>
    <a:lt1>
      <a:sysClr val="window" lastClr="FFFFFF"/>
    </a:lt1>
    <a:dk2>
      <a:srgbClr val="000000"/>
    </a:dk2>
    <a:lt2>
      <a:srgbClr val="B9B9B9"/>
    </a:lt2>
    <a:accent1>
      <a:srgbClr val="0080FF"/>
    </a:accent1>
    <a:accent2>
      <a:srgbClr val="FFB32C"/>
    </a:accent2>
    <a:accent3>
      <a:srgbClr val="F47F64"/>
    </a:accent3>
    <a:accent4>
      <a:srgbClr val="87CB9C"/>
    </a:accent4>
    <a:accent5>
      <a:srgbClr val="C590C0"/>
    </a:accent5>
    <a:accent6>
      <a:srgbClr val="77B0DD"/>
    </a:accent6>
    <a:hlink>
      <a:srgbClr val="0080FF"/>
    </a:hlink>
    <a:folHlink>
      <a:srgbClr val="B766C2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GroupM">
    <a:dk1>
      <a:srgbClr val="0A2756"/>
    </a:dk1>
    <a:lt1>
      <a:sysClr val="window" lastClr="FFFFFF"/>
    </a:lt1>
    <a:dk2>
      <a:srgbClr val="000000"/>
    </a:dk2>
    <a:lt2>
      <a:srgbClr val="B9B9B9"/>
    </a:lt2>
    <a:accent1>
      <a:srgbClr val="0080FF"/>
    </a:accent1>
    <a:accent2>
      <a:srgbClr val="FFB32C"/>
    </a:accent2>
    <a:accent3>
      <a:srgbClr val="F47F64"/>
    </a:accent3>
    <a:accent4>
      <a:srgbClr val="87CB9C"/>
    </a:accent4>
    <a:accent5>
      <a:srgbClr val="C590C0"/>
    </a:accent5>
    <a:accent6>
      <a:srgbClr val="77B0DD"/>
    </a:accent6>
    <a:hlink>
      <a:srgbClr val="0080FF"/>
    </a:hlink>
    <a:folHlink>
      <a:srgbClr val="B766C2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3923</TotalTime>
  <Words>632</Words>
  <Application>Microsoft Office PowerPoint</Application>
  <PresentationFormat>On-screen Show (16:9)</PresentationFormat>
  <Paragraphs>151</Paragraphs>
  <Slides>22</Slides>
  <Notes>13</Notes>
  <HiddenSlides>0</HiddenSlides>
  <MMClips>2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7" baseType="lpstr">
      <vt:lpstr>Arial</vt:lpstr>
      <vt:lpstr>Calibri</vt:lpstr>
      <vt:lpstr>Century Gothic</vt:lpstr>
      <vt:lpstr>Gotham Bold</vt:lpstr>
      <vt:lpstr>Gotham Bold Italic</vt:lpstr>
      <vt:lpstr>Gotham Book</vt:lpstr>
      <vt:lpstr>Gotham Condensed Medium</vt:lpstr>
      <vt:lpstr>Gotham Light</vt:lpstr>
      <vt:lpstr>Gotham Medium</vt:lpstr>
      <vt:lpstr>Lucida Grande</vt:lpstr>
      <vt:lpstr>NEW FRAMEWORK TEMPLATE</vt:lpstr>
      <vt:lpstr>1_GroupM</vt:lpstr>
      <vt:lpstr>1_NEW FRAMEWORK TEMPLATE</vt:lpstr>
      <vt:lpstr>2_NEW FRAMEWORK TEMPLAT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V – SHARE OF VIEWING </vt:lpstr>
      <vt:lpstr>PowerPoint Presentation</vt:lpstr>
      <vt:lpstr>PowerPoint Presentation</vt:lpstr>
      <vt:lpstr>PowerPoint Presentation</vt:lpstr>
      <vt:lpstr>Social Media hour by hour – all adults 18+</vt:lpstr>
      <vt:lpstr>Social Media hour by hour – all adults 18+</vt:lpstr>
      <vt:lpstr>PowerPoint Presentation</vt:lpstr>
      <vt:lpstr>Curation Generation</vt:lpstr>
      <vt:lpstr>AUDIO – SHARE OF LISTENING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Oliver Joyce</dc:creator>
  <cp:lastModifiedBy>Irene McEvoy</cp:lastModifiedBy>
  <cp:revision>1101</cp:revision>
  <cp:lastPrinted>2020-01-27T17:10:57Z</cp:lastPrinted>
  <dcterms:modified xsi:type="dcterms:W3CDTF">2020-01-31T12:30:23Z</dcterms:modified>
</cp:coreProperties>
</file>